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30" r:id="rId2"/>
    <p:sldMasterId id="2147483671" r:id="rId3"/>
    <p:sldMasterId id="2147483741" r:id="rId4"/>
  </p:sldMasterIdLst>
  <p:notesMasterIdLst>
    <p:notesMasterId r:id="rId66"/>
  </p:notesMasterIdLst>
  <p:handoutMasterIdLst>
    <p:handoutMasterId r:id="rId67"/>
  </p:handoutMasterIdLst>
  <p:sldIdLst>
    <p:sldId id="256" r:id="rId5"/>
    <p:sldId id="258" r:id="rId6"/>
    <p:sldId id="259" r:id="rId7"/>
    <p:sldId id="260" r:id="rId8"/>
    <p:sldId id="263" r:id="rId9"/>
    <p:sldId id="264" r:id="rId10"/>
    <p:sldId id="265" r:id="rId11"/>
    <p:sldId id="286" r:id="rId12"/>
    <p:sldId id="266" r:id="rId13"/>
    <p:sldId id="296" r:id="rId14"/>
    <p:sldId id="287" r:id="rId15"/>
    <p:sldId id="321" r:id="rId16"/>
    <p:sldId id="368" r:id="rId17"/>
    <p:sldId id="369" r:id="rId18"/>
    <p:sldId id="370" r:id="rId19"/>
    <p:sldId id="371" r:id="rId20"/>
    <p:sldId id="372" r:id="rId21"/>
    <p:sldId id="373" r:id="rId22"/>
    <p:sldId id="342" r:id="rId23"/>
    <p:sldId id="396" r:id="rId24"/>
    <p:sldId id="397" r:id="rId25"/>
    <p:sldId id="398" r:id="rId26"/>
    <p:sldId id="399" r:id="rId27"/>
    <p:sldId id="400" r:id="rId28"/>
    <p:sldId id="401" r:id="rId29"/>
    <p:sldId id="402" r:id="rId30"/>
    <p:sldId id="294" r:id="rId31"/>
    <p:sldId id="289" r:id="rId32"/>
    <p:sldId id="290" r:id="rId33"/>
    <p:sldId id="291" r:id="rId34"/>
    <p:sldId id="292" r:id="rId35"/>
    <p:sldId id="293" r:id="rId36"/>
    <p:sldId id="306" r:id="rId37"/>
    <p:sldId id="375" r:id="rId38"/>
    <p:sldId id="376" r:id="rId39"/>
    <p:sldId id="377" r:id="rId40"/>
    <p:sldId id="378" r:id="rId41"/>
    <p:sldId id="379" r:id="rId42"/>
    <p:sldId id="380" r:id="rId43"/>
    <p:sldId id="320" r:id="rId44"/>
    <p:sldId id="381" r:id="rId45"/>
    <p:sldId id="382" r:id="rId46"/>
    <p:sldId id="383" r:id="rId47"/>
    <p:sldId id="384" r:id="rId48"/>
    <p:sldId id="385" r:id="rId49"/>
    <p:sldId id="351" r:id="rId50"/>
    <p:sldId id="352" r:id="rId51"/>
    <p:sldId id="353" r:id="rId52"/>
    <p:sldId id="354" r:id="rId53"/>
    <p:sldId id="355" r:id="rId54"/>
    <p:sldId id="356" r:id="rId55"/>
    <p:sldId id="357" r:id="rId56"/>
    <p:sldId id="358" r:id="rId57"/>
    <p:sldId id="387" r:id="rId58"/>
    <p:sldId id="388" r:id="rId59"/>
    <p:sldId id="389" r:id="rId60"/>
    <p:sldId id="390" r:id="rId61"/>
    <p:sldId id="391" r:id="rId62"/>
    <p:sldId id="392" r:id="rId63"/>
    <p:sldId id="393" r:id="rId64"/>
    <p:sldId id="340" r:id="rId65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256"/>
            <p14:sldId id="258"/>
            <p14:sldId id="259"/>
            <p14:sldId id="260"/>
            <p14:sldId id="263"/>
            <p14:sldId id="264"/>
            <p14:sldId id="265"/>
            <p14:sldId id="286"/>
            <p14:sldId id="266"/>
            <p14:sldId id="296"/>
            <p14:sldId id="287"/>
            <p14:sldId id="321"/>
            <p14:sldId id="368"/>
            <p14:sldId id="369"/>
            <p14:sldId id="370"/>
            <p14:sldId id="371"/>
            <p14:sldId id="372"/>
            <p14:sldId id="373"/>
            <p14:sldId id="342"/>
            <p14:sldId id="396"/>
            <p14:sldId id="397"/>
            <p14:sldId id="398"/>
            <p14:sldId id="399"/>
            <p14:sldId id="400"/>
            <p14:sldId id="401"/>
            <p14:sldId id="402"/>
            <p14:sldId id="294"/>
            <p14:sldId id="289"/>
            <p14:sldId id="290"/>
            <p14:sldId id="291"/>
            <p14:sldId id="292"/>
            <p14:sldId id="293"/>
            <p14:sldId id="306"/>
            <p14:sldId id="375"/>
            <p14:sldId id="376"/>
            <p14:sldId id="377"/>
            <p14:sldId id="378"/>
            <p14:sldId id="379"/>
            <p14:sldId id="380"/>
            <p14:sldId id="320"/>
            <p14:sldId id="381"/>
            <p14:sldId id="382"/>
            <p14:sldId id="383"/>
            <p14:sldId id="384"/>
            <p14:sldId id="385"/>
            <p14:sldId id="351"/>
            <p14:sldId id="352"/>
            <p14:sldId id="353"/>
            <p14:sldId id="354"/>
            <p14:sldId id="355"/>
            <p14:sldId id="356"/>
            <p14:sldId id="357"/>
            <p14:sldId id="358"/>
            <p14:sldId id="387"/>
            <p14:sldId id="388"/>
            <p14:sldId id="389"/>
            <p14:sldId id="390"/>
            <p14:sldId id="391"/>
            <p14:sldId id="392"/>
            <p14:sldId id="393"/>
            <p14:sldId id="3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s, Jessica" initials="PJ" lastIdx="1" clrIdx="0">
    <p:extLst/>
  </p:cmAuthor>
  <p:cmAuthor id="2" name="Kagithapu Lokanadha, Sai Krishna" initials="KLSK" lastIdx="1" clrIdx="1">
    <p:extLst>
      <p:ext uri="{19B8F6BF-5375-455C-9EA6-DF929625EA0E}">
        <p15:presenceInfo xmlns:p15="http://schemas.microsoft.com/office/powerpoint/2012/main" userId="S-1-5-21-1531082355-734649621-3782574898-30036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5E616"/>
    <a:srgbClr val="95E816"/>
    <a:srgbClr val="FFECAF"/>
    <a:srgbClr val="FECC26"/>
    <a:srgbClr val="0098CC"/>
    <a:srgbClr val="74B230"/>
    <a:srgbClr val="F3FCE4"/>
    <a:srgbClr val="FFD1D8"/>
    <a:srgbClr val="FF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15" autoAdjust="0"/>
    <p:restoredTop sz="98535" autoAdjust="0"/>
  </p:normalViewPr>
  <p:slideViewPr>
    <p:cSldViewPr>
      <p:cViewPr varScale="1">
        <p:scale>
          <a:sx n="72" d="100"/>
          <a:sy n="72" d="100"/>
        </p:scale>
        <p:origin x="5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commentAuthors" Target="commentAuthors.xml"/><Relationship Id="rId7" Type="http://schemas.openxmlformats.org/officeDocument/2006/relationships/slide" Target="slides/slide3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89426A-5260-40E6-8115-ACCCDD54440D}" type="doc">
      <dgm:prSet loTypeId="urn:microsoft.com/office/officeart/2005/8/layout/radial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34ED455-8D5E-4D30-9193-FC0104F126C2}">
      <dgm:prSet phldrT="[Text]"/>
      <dgm:spPr/>
      <dgm:t>
        <a:bodyPr/>
        <a:lstStyle/>
        <a:p>
          <a:r>
            <a:rPr lang="en-US" dirty="0" smtClean="0"/>
            <a:t>Linux</a:t>
          </a:r>
          <a:endParaRPr lang="en-US" dirty="0"/>
        </a:p>
      </dgm:t>
    </dgm:pt>
    <dgm:pt modelId="{767C9D20-A977-478A-8E57-801CA4993677}" type="parTrans" cxnId="{2F421ED9-C0E8-42E4-A0FD-588397A7770E}">
      <dgm:prSet/>
      <dgm:spPr/>
      <dgm:t>
        <a:bodyPr/>
        <a:lstStyle/>
        <a:p>
          <a:endParaRPr lang="en-US"/>
        </a:p>
      </dgm:t>
    </dgm:pt>
    <dgm:pt modelId="{2BA8ADF3-CB38-4133-8DCC-6EF5D09E5862}" type="sibTrans" cxnId="{2F421ED9-C0E8-42E4-A0FD-588397A7770E}">
      <dgm:prSet/>
      <dgm:spPr/>
      <dgm:t>
        <a:bodyPr/>
        <a:lstStyle/>
        <a:p>
          <a:endParaRPr lang="en-US"/>
        </a:p>
      </dgm:t>
    </dgm:pt>
    <dgm:pt modelId="{53A4B96A-F180-4B49-AFD2-94DB7FFB9C9B}">
      <dgm:prSet phldrT="[Text]"/>
      <dgm:spPr/>
      <dgm:t>
        <a:bodyPr/>
        <a:lstStyle/>
        <a:p>
          <a:r>
            <a:rPr lang="en-US" dirty="0" smtClean="0"/>
            <a:t>OS Services</a:t>
          </a:r>
          <a:endParaRPr lang="en-US" dirty="0"/>
        </a:p>
      </dgm:t>
    </dgm:pt>
    <dgm:pt modelId="{DCADD2B7-3928-46C5-A104-E5AC6CA3A77B}" type="parTrans" cxnId="{AB9B6A7C-7F89-4175-99D4-607B769E41B2}">
      <dgm:prSet/>
      <dgm:spPr/>
      <dgm:t>
        <a:bodyPr/>
        <a:lstStyle/>
        <a:p>
          <a:endParaRPr lang="en-US" dirty="0"/>
        </a:p>
      </dgm:t>
    </dgm:pt>
    <dgm:pt modelId="{35308576-4DC1-4E93-85EF-19784D39007C}" type="sibTrans" cxnId="{AB9B6A7C-7F89-4175-99D4-607B769E41B2}">
      <dgm:prSet/>
      <dgm:spPr/>
      <dgm:t>
        <a:bodyPr/>
        <a:lstStyle/>
        <a:p>
          <a:endParaRPr lang="en-US"/>
        </a:p>
      </dgm:t>
    </dgm:pt>
    <dgm:pt modelId="{72011C4C-F70C-4059-8361-9E634F17734A}">
      <dgm:prSet phldrT="[Text]"/>
      <dgm:spPr/>
      <dgm:t>
        <a:bodyPr/>
        <a:lstStyle/>
        <a:p>
          <a:r>
            <a:rPr lang="en-US" dirty="0" smtClean="0"/>
            <a:t>USER Application</a:t>
          </a:r>
          <a:endParaRPr lang="en-US" dirty="0"/>
        </a:p>
      </dgm:t>
    </dgm:pt>
    <dgm:pt modelId="{1799EB3C-DA19-44D4-A1E6-0FA32951E24B}" type="parTrans" cxnId="{EC9EDB6F-9714-4AD4-89DD-EBCD38F0799A}">
      <dgm:prSet/>
      <dgm:spPr/>
      <dgm:t>
        <a:bodyPr/>
        <a:lstStyle/>
        <a:p>
          <a:endParaRPr lang="en-US" dirty="0"/>
        </a:p>
      </dgm:t>
    </dgm:pt>
    <dgm:pt modelId="{52D72FE8-8245-4A6D-9F66-8592CB16B39E}" type="sibTrans" cxnId="{EC9EDB6F-9714-4AD4-89DD-EBCD38F0799A}">
      <dgm:prSet/>
      <dgm:spPr/>
      <dgm:t>
        <a:bodyPr/>
        <a:lstStyle/>
        <a:p>
          <a:endParaRPr lang="en-US"/>
        </a:p>
      </dgm:t>
    </dgm:pt>
    <dgm:pt modelId="{17AB8A0D-C441-4F75-AC89-50AE7EAA3799}">
      <dgm:prSet phldrT="[Text]"/>
      <dgm:spPr/>
      <dgm:t>
        <a:bodyPr/>
        <a:lstStyle/>
        <a:p>
          <a:r>
            <a:rPr lang="en-US" dirty="0" smtClean="0"/>
            <a:t>Linux Kernel </a:t>
          </a:r>
          <a:endParaRPr lang="en-US" dirty="0"/>
        </a:p>
      </dgm:t>
    </dgm:pt>
    <dgm:pt modelId="{62481817-F739-4E66-BB27-C744FDBC2D6D}" type="parTrans" cxnId="{A103B6EC-636B-4DB3-BDAE-A37EED4D98AB}">
      <dgm:prSet/>
      <dgm:spPr/>
      <dgm:t>
        <a:bodyPr/>
        <a:lstStyle/>
        <a:p>
          <a:endParaRPr lang="en-US" dirty="0"/>
        </a:p>
      </dgm:t>
    </dgm:pt>
    <dgm:pt modelId="{00344C43-2183-4465-9361-229AC62FD053}" type="sibTrans" cxnId="{A103B6EC-636B-4DB3-BDAE-A37EED4D98AB}">
      <dgm:prSet/>
      <dgm:spPr/>
      <dgm:t>
        <a:bodyPr/>
        <a:lstStyle/>
        <a:p>
          <a:endParaRPr lang="en-US"/>
        </a:p>
      </dgm:t>
    </dgm:pt>
    <dgm:pt modelId="{5826C839-AEB4-425B-AD34-DCDCB995AE86}">
      <dgm:prSet phldrT="[Text]"/>
      <dgm:spPr/>
      <dgm:t>
        <a:bodyPr/>
        <a:lstStyle/>
        <a:p>
          <a:r>
            <a:rPr lang="en-US" dirty="0" smtClean="0"/>
            <a:t>Hardware Controller</a:t>
          </a:r>
          <a:endParaRPr lang="en-US" dirty="0"/>
        </a:p>
      </dgm:t>
    </dgm:pt>
    <dgm:pt modelId="{54319978-9014-4D45-B48F-6EC33E288897}" type="parTrans" cxnId="{0C0A0CFD-1EFC-4E72-896B-2665B4BEB5AA}">
      <dgm:prSet/>
      <dgm:spPr/>
      <dgm:t>
        <a:bodyPr/>
        <a:lstStyle/>
        <a:p>
          <a:endParaRPr lang="en-US" dirty="0"/>
        </a:p>
      </dgm:t>
    </dgm:pt>
    <dgm:pt modelId="{05B858DB-8492-4B53-8152-E5E896B20DE5}" type="sibTrans" cxnId="{0C0A0CFD-1EFC-4E72-896B-2665B4BEB5AA}">
      <dgm:prSet/>
      <dgm:spPr/>
      <dgm:t>
        <a:bodyPr/>
        <a:lstStyle/>
        <a:p>
          <a:endParaRPr lang="en-US"/>
        </a:p>
      </dgm:t>
    </dgm:pt>
    <dgm:pt modelId="{8A849E06-0B50-4AC8-8281-E3B6D47953A2}" type="pres">
      <dgm:prSet presAssocID="{E789426A-5260-40E6-8115-ACCCDD54440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785FAB-08E8-4433-97CB-3DACD2EB519D}" type="pres">
      <dgm:prSet presAssocID="{334ED455-8D5E-4D30-9193-FC0104F126C2}" presName="centerShape" presStyleLbl="node0" presStyleIdx="0" presStyleCnt="1" custScaleX="109132" custScaleY="121457"/>
      <dgm:spPr/>
      <dgm:t>
        <a:bodyPr/>
        <a:lstStyle/>
        <a:p>
          <a:endParaRPr lang="en-US"/>
        </a:p>
      </dgm:t>
    </dgm:pt>
    <dgm:pt modelId="{60413264-A758-4ED8-9205-058B092C5516}" type="pres">
      <dgm:prSet presAssocID="{DCADD2B7-3928-46C5-A104-E5AC6CA3A77B}" presName="parTrans" presStyleLbl="sibTrans2D1" presStyleIdx="0" presStyleCnt="4"/>
      <dgm:spPr/>
      <dgm:t>
        <a:bodyPr/>
        <a:lstStyle/>
        <a:p>
          <a:endParaRPr lang="en-US"/>
        </a:p>
      </dgm:t>
    </dgm:pt>
    <dgm:pt modelId="{13C296FA-3601-4EBD-87AD-1921D9B05F49}" type="pres">
      <dgm:prSet presAssocID="{DCADD2B7-3928-46C5-A104-E5AC6CA3A77B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A8B3F084-C609-41DF-B7A5-B3D696D8E9F8}" type="pres">
      <dgm:prSet presAssocID="{53A4B96A-F180-4B49-AFD2-94DB7FFB9C9B}" presName="node" presStyleLbl="node1" presStyleIdx="0" presStyleCnt="4" custScaleX="126890" custScaleY="1110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6C9F3-8D91-4C6C-A11D-3D346290ACE1}" type="pres">
      <dgm:prSet presAssocID="{1799EB3C-DA19-44D4-A1E6-0FA32951E24B}" presName="parTrans" presStyleLbl="sibTrans2D1" presStyleIdx="1" presStyleCnt="4"/>
      <dgm:spPr/>
      <dgm:t>
        <a:bodyPr/>
        <a:lstStyle/>
        <a:p>
          <a:endParaRPr lang="en-US"/>
        </a:p>
      </dgm:t>
    </dgm:pt>
    <dgm:pt modelId="{2611BBFA-0640-43D6-A7CD-6D8759B40B2D}" type="pres">
      <dgm:prSet presAssocID="{1799EB3C-DA19-44D4-A1E6-0FA32951E24B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1C81B57A-A34B-4DC2-BF49-77828593C166}" type="pres">
      <dgm:prSet presAssocID="{72011C4C-F70C-4059-8361-9E634F17734A}" presName="node" presStyleLbl="node1" presStyleIdx="1" presStyleCnt="4" custScaleX="135515" custScaleY="121457" custRadScaleRad="122568" custRadScaleInc="1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E43BE-98E9-4AE5-A36E-C4F98A061C56}" type="pres">
      <dgm:prSet presAssocID="{62481817-F739-4E66-BB27-C744FDBC2D6D}" presName="parTrans" presStyleLbl="sibTrans2D1" presStyleIdx="2" presStyleCnt="4"/>
      <dgm:spPr/>
      <dgm:t>
        <a:bodyPr/>
        <a:lstStyle/>
        <a:p>
          <a:endParaRPr lang="en-US"/>
        </a:p>
      </dgm:t>
    </dgm:pt>
    <dgm:pt modelId="{C046D02B-D7EA-421B-9B7D-1DDB3484F2BF}" type="pres">
      <dgm:prSet presAssocID="{62481817-F739-4E66-BB27-C744FDBC2D6D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6D790799-C1A6-4912-A471-85393B0ED93D}" type="pres">
      <dgm:prSet presAssocID="{17AB8A0D-C441-4F75-AC89-50AE7EAA3799}" presName="node" presStyleLbl="node1" presStyleIdx="2" presStyleCnt="4" custScaleX="120574" custScaleY="107732" custRadScaleRad="116720" custRadScaleInc="-26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15B3A4-12E2-481B-BE90-498DFD692BAD}" type="pres">
      <dgm:prSet presAssocID="{54319978-9014-4D45-B48F-6EC33E288897}" presName="parTrans" presStyleLbl="sibTrans2D1" presStyleIdx="3" presStyleCnt="4"/>
      <dgm:spPr/>
      <dgm:t>
        <a:bodyPr/>
        <a:lstStyle/>
        <a:p>
          <a:endParaRPr lang="en-US"/>
        </a:p>
      </dgm:t>
    </dgm:pt>
    <dgm:pt modelId="{D5A6DA9D-BFE4-40C1-B134-4858F3585E5A}" type="pres">
      <dgm:prSet presAssocID="{54319978-9014-4D45-B48F-6EC33E2888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325D8EB-F374-45FF-B488-BDF1EC5AC75D}" type="pres">
      <dgm:prSet presAssocID="{5826C839-AEB4-425B-AD34-DCDCB995AE86}" presName="node" presStyleLbl="node1" presStyleIdx="3" presStyleCnt="4" custScaleX="142832" custScaleY="121457" custRadScaleRad="116410" custRadScaleInc="-12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0A0CFD-1EFC-4E72-896B-2665B4BEB5AA}" srcId="{334ED455-8D5E-4D30-9193-FC0104F126C2}" destId="{5826C839-AEB4-425B-AD34-DCDCB995AE86}" srcOrd="3" destOrd="0" parTransId="{54319978-9014-4D45-B48F-6EC33E288897}" sibTransId="{05B858DB-8492-4B53-8152-E5E896B20DE5}"/>
    <dgm:cxn modelId="{2F421ED9-C0E8-42E4-A0FD-588397A7770E}" srcId="{E789426A-5260-40E6-8115-ACCCDD54440D}" destId="{334ED455-8D5E-4D30-9193-FC0104F126C2}" srcOrd="0" destOrd="0" parTransId="{767C9D20-A977-478A-8E57-801CA4993677}" sibTransId="{2BA8ADF3-CB38-4133-8DCC-6EF5D09E5862}"/>
    <dgm:cxn modelId="{A5523A4E-DEF3-4D90-99EE-24484C7F7888}" type="presOf" srcId="{62481817-F739-4E66-BB27-C744FDBC2D6D}" destId="{C046D02B-D7EA-421B-9B7D-1DDB3484F2BF}" srcOrd="1" destOrd="0" presId="urn:microsoft.com/office/officeart/2005/8/layout/radial5"/>
    <dgm:cxn modelId="{EC9EDB6F-9714-4AD4-89DD-EBCD38F0799A}" srcId="{334ED455-8D5E-4D30-9193-FC0104F126C2}" destId="{72011C4C-F70C-4059-8361-9E634F17734A}" srcOrd="1" destOrd="0" parTransId="{1799EB3C-DA19-44D4-A1E6-0FA32951E24B}" sibTransId="{52D72FE8-8245-4A6D-9F66-8592CB16B39E}"/>
    <dgm:cxn modelId="{7CA7778F-64B2-4E5F-9E66-FA0EDD9389C2}" type="presOf" srcId="{17AB8A0D-C441-4F75-AC89-50AE7EAA3799}" destId="{6D790799-C1A6-4912-A471-85393B0ED93D}" srcOrd="0" destOrd="0" presId="urn:microsoft.com/office/officeart/2005/8/layout/radial5"/>
    <dgm:cxn modelId="{5B6A09FA-0114-494D-8355-DA9D8A9D287D}" type="presOf" srcId="{62481817-F739-4E66-BB27-C744FDBC2D6D}" destId="{97BE43BE-98E9-4AE5-A36E-C4F98A061C56}" srcOrd="0" destOrd="0" presId="urn:microsoft.com/office/officeart/2005/8/layout/radial5"/>
    <dgm:cxn modelId="{A103B6EC-636B-4DB3-BDAE-A37EED4D98AB}" srcId="{334ED455-8D5E-4D30-9193-FC0104F126C2}" destId="{17AB8A0D-C441-4F75-AC89-50AE7EAA3799}" srcOrd="2" destOrd="0" parTransId="{62481817-F739-4E66-BB27-C744FDBC2D6D}" sibTransId="{00344C43-2183-4465-9361-229AC62FD053}"/>
    <dgm:cxn modelId="{26B23ECD-6ABA-4785-9151-44C19CF95E75}" type="presOf" srcId="{E789426A-5260-40E6-8115-ACCCDD54440D}" destId="{8A849E06-0B50-4AC8-8281-E3B6D47953A2}" srcOrd="0" destOrd="0" presId="urn:microsoft.com/office/officeart/2005/8/layout/radial5"/>
    <dgm:cxn modelId="{5BE5AAD4-2A2A-4624-9079-CAAC8B2A24BA}" type="presOf" srcId="{1799EB3C-DA19-44D4-A1E6-0FA32951E24B}" destId="{5FD6C9F3-8D91-4C6C-A11D-3D346290ACE1}" srcOrd="0" destOrd="0" presId="urn:microsoft.com/office/officeart/2005/8/layout/radial5"/>
    <dgm:cxn modelId="{3A98BED4-C7C2-46E1-819F-3E57A3FD1593}" type="presOf" srcId="{DCADD2B7-3928-46C5-A104-E5AC6CA3A77B}" destId="{13C296FA-3601-4EBD-87AD-1921D9B05F49}" srcOrd="1" destOrd="0" presId="urn:microsoft.com/office/officeart/2005/8/layout/radial5"/>
    <dgm:cxn modelId="{34E730FD-2DF9-424E-8266-54EAACD02A3A}" type="presOf" srcId="{DCADD2B7-3928-46C5-A104-E5AC6CA3A77B}" destId="{60413264-A758-4ED8-9205-058B092C5516}" srcOrd="0" destOrd="0" presId="urn:microsoft.com/office/officeart/2005/8/layout/radial5"/>
    <dgm:cxn modelId="{B1588EA4-17E1-46BE-B8DC-43DA1BC55483}" type="presOf" srcId="{5826C839-AEB4-425B-AD34-DCDCB995AE86}" destId="{9325D8EB-F374-45FF-B488-BDF1EC5AC75D}" srcOrd="0" destOrd="0" presId="urn:microsoft.com/office/officeart/2005/8/layout/radial5"/>
    <dgm:cxn modelId="{A6E75276-F1A2-49D2-A42E-113A0C5D2135}" type="presOf" srcId="{334ED455-8D5E-4D30-9193-FC0104F126C2}" destId="{49785FAB-08E8-4433-97CB-3DACD2EB519D}" srcOrd="0" destOrd="0" presId="urn:microsoft.com/office/officeart/2005/8/layout/radial5"/>
    <dgm:cxn modelId="{AB9B6A7C-7F89-4175-99D4-607B769E41B2}" srcId="{334ED455-8D5E-4D30-9193-FC0104F126C2}" destId="{53A4B96A-F180-4B49-AFD2-94DB7FFB9C9B}" srcOrd="0" destOrd="0" parTransId="{DCADD2B7-3928-46C5-A104-E5AC6CA3A77B}" sibTransId="{35308576-4DC1-4E93-85EF-19784D39007C}"/>
    <dgm:cxn modelId="{B420BFD7-7620-459D-B501-68C6BBA9AEE6}" type="presOf" srcId="{72011C4C-F70C-4059-8361-9E634F17734A}" destId="{1C81B57A-A34B-4DC2-BF49-77828593C166}" srcOrd="0" destOrd="0" presId="urn:microsoft.com/office/officeart/2005/8/layout/radial5"/>
    <dgm:cxn modelId="{B3B8C8B4-8222-4FFB-93DB-52AC67B9B5EF}" type="presOf" srcId="{54319978-9014-4D45-B48F-6EC33E288897}" destId="{8A15B3A4-12E2-481B-BE90-498DFD692BAD}" srcOrd="0" destOrd="0" presId="urn:microsoft.com/office/officeart/2005/8/layout/radial5"/>
    <dgm:cxn modelId="{23012F15-0321-41D8-A550-1124E81C42B7}" type="presOf" srcId="{1799EB3C-DA19-44D4-A1E6-0FA32951E24B}" destId="{2611BBFA-0640-43D6-A7CD-6D8759B40B2D}" srcOrd="1" destOrd="0" presId="urn:microsoft.com/office/officeart/2005/8/layout/radial5"/>
    <dgm:cxn modelId="{0ADCF850-9B98-4EE7-9CEB-1CA0100180FD}" type="presOf" srcId="{53A4B96A-F180-4B49-AFD2-94DB7FFB9C9B}" destId="{A8B3F084-C609-41DF-B7A5-B3D696D8E9F8}" srcOrd="0" destOrd="0" presId="urn:microsoft.com/office/officeart/2005/8/layout/radial5"/>
    <dgm:cxn modelId="{7C732354-EEB2-45E5-9E74-8EA867E14845}" type="presOf" srcId="{54319978-9014-4D45-B48F-6EC33E288897}" destId="{D5A6DA9D-BFE4-40C1-B134-4858F3585E5A}" srcOrd="1" destOrd="0" presId="urn:microsoft.com/office/officeart/2005/8/layout/radial5"/>
    <dgm:cxn modelId="{1B9610AB-4D6B-48DE-B4B0-FFD86E54A0B5}" type="presParOf" srcId="{8A849E06-0B50-4AC8-8281-E3B6D47953A2}" destId="{49785FAB-08E8-4433-97CB-3DACD2EB519D}" srcOrd="0" destOrd="0" presId="urn:microsoft.com/office/officeart/2005/8/layout/radial5"/>
    <dgm:cxn modelId="{C1779EAF-C1B3-4019-AC6C-B4299C91B7EC}" type="presParOf" srcId="{8A849E06-0B50-4AC8-8281-E3B6D47953A2}" destId="{60413264-A758-4ED8-9205-058B092C5516}" srcOrd="1" destOrd="0" presId="urn:microsoft.com/office/officeart/2005/8/layout/radial5"/>
    <dgm:cxn modelId="{33F9D762-900B-4175-A401-6E1FFB0987F3}" type="presParOf" srcId="{60413264-A758-4ED8-9205-058B092C5516}" destId="{13C296FA-3601-4EBD-87AD-1921D9B05F49}" srcOrd="0" destOrd="0" presId="urn:microsoft.com/office/officeart/2005/8/layout/radial5"/>
    <dgm:cxn modelId="{9F736D65-C482-4674-B311-4EAA8703006B}" type="presParOf" srcId="{8A849E06-0B50-4AC8-8281-E3B6D47953A2}" destId="{A8B3F084-C609-41DF-B7A5-B3D696D8E9F8}" srcOrd="2" destOrd="0" presId="urn:microsoft.com/office/officeart/2005/8/layout/radial5"/>
    <dgm:cxn modelId="{B931C3A7-DE9B-4B69-9F05-34A3119E2C02}" type="presParOf" srcId="{8A849E06-0B50-4AC8-8281-E3B6D47953A2}" destId="{5FD6C9F3-8D91-4C6C-A11D-3D346290ACE1}" srcOrd="3" destOrd="0" presId="urn:microsoft.com/office/officeart/2005/8/layout/radial5"/>
    <dgm:cxn modelId="{F709AAC5-549A-4E6A-A347-90B5E4579FD4}" type="presParOf" srcId="{5FD6C9F3-8D91-4C6C-A11D-3D346290ACE1}" destId="{2611BBFA-0640-43D6-A7CD-6D8759B40B2D}" srcOrd="0" destOrd="0" presId="urn:microsoft.com/office/officeart/2005/8/layout/radial5"/>
    <dgm:cxn modelId="{216A31AD-303F-4196-AA8E-0659664CA53C}" type="presParOf" srcId="{8A849E06-0B50-4AC8-8281-E3B6D47953A2}" destId="{1C81B57A-A34B-4DC2-BF49-77828593C166}" srcOrd="4" destOrd="0" presId="urn:microsoft.com/office/officeart/2005/8/layout/radial5"/>
    <dgm:cxn modelId="{C6BFA9FF-3E7B-4E5A-98F4-AE310AD7B364}" type="presParOf" srcId="{8A849E06-0B50-4AC8-8281-E3B6D47953A2}" destId="{97BE43BE-98E9-4AE5-A36E-C4F98A061C56}" srcOrd="5" destOrd="0" presId="urn:microsoft.com/office/officeart/2005/8/layout/radial5"/>
    <dgm:cxn modelId="{74A847A0-3348-49CE-AC8C-C44A9A05E56A}" type="presParOf" srcId="{97BE43BE-98E9-4AE5-A36E-C4F98A061C56}" destId="{C046D02B-D7EA-421B-9B7D-1DDB3484F2BF}" srcOrd="0" destOrd="0" presId="urn:microsoft.com/office/officeart/2005/8/layout/radial5"/>
    <dgm:cxn modelId="{15AA20F7-ABD5-4CB7-85E0-CCB050B68A54}" type="presParOf" srcId="{8A849E06-0B50-4AC8-8281-E3B6D47953A2}" destId="{6D790799-C1A6-4912-A471-85393B0ED93D}" srcOrd="6" destOrd="0" presId="urn:microsoft.com/office/officeart/2005/8/layout/radial5"/>
    <dgm:cxn modelId="{87F6C0BE-226C-45EC-B5FC-7D23E3E4FEE9}" type="presParOf" srcId="{8A849E06-0B50-4AC8-8281-E3B6D47953A2}" destId="{8A15B3A4-12E2-481B-BE90-498DFD692BAD}" srcOrd="7" destOrd="0" presId="urn:microsoft.com/office/officeart/2005/8/layout/radial5"/>
    <dgm:cxn modelId="{021072ED-C6A7-4938-BBD3-4DE769345DBB}" type="presParOf" srcId="{8A15B3A4-12E2-481B-BE90-498DFD692BAD}" destId="{D5A6DA9D-BFE4-40C1-B134-4858F3585E5A}" srcOrd="0" destOrd="0" presId="urn:microsoft.com/office/officeart/2005/8/layout/radial5"/>
    <dgm:cxn modelId="{83189F07-E29C-405D-B26F-98CD70001158}" type="presParOf" srcId="{8A849E06-0B50-4AC8-8281-E3B6D47953A2}" destId="{9325D8EB-F374-45FF-B488-BDF1EC5AC75D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B89EEA0-3005-47B6-B7D1-4ADEA05CC9A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D23F6B-6253-4973-B8E4-8790EF206CDD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tegrity problem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041B6F4-93AD-4482-984A-21E68FD685D8}" type="parTrans" cxnId="{C4C58566-A038-465A-91DB-998D8C2176BF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C03B14-8C43-46E6-89FB-9B1C7132BD42}" type="sibTrans" cxnId="{C4C58566-A038-465A-91DB-998D8C2176BF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F1CB78-7B42-4A63-9A7F-33D00D50CD9D}" type="pres">
      <dgm:prSet presAssocID="{FB89EEA0-3005-47B6-B7D1-4ADEA05CC9A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E7A8635-CE56-47EF-B490-D5DDB7A2249C}" type="pres">
      <dgm:prSet presAssocID="{A3D23F6B-6253-4973-B8E4-8790EF206CDD}" presName="parentText" presStyleLbl="node1" presStyleIdx="0" presStyleCnt="1" custLinFactNeighborX="5455" custLinFactNeighborY="-138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C2B90A-DB23-4AFA-AFD1-BFD1F41FAFFC}" type="presOf" srcId="{FB89EEA0-3005-47B6-B7D1-4ADEA05CC9A8}" destId="{27F1CB78-7B42-4A63-9A7F-33D00D50CD9D}" srcOrd="0" destOrd="0" presId="urn:microsoft.com/office/officeart/2005/8/layout/vList2"/>
    <dgm:cxn modelId="{BF9C9EA5-D596-4564-BDA4-3F33A0E23B98}" type="presOf" srcId="{A3D23F6B-6253-4973-B8E4-8790EF206CDD}" destId="{3E7A8635-CE56-47EF-B490-D5DDB7A2249C}" srcOrd="0" destOrd="0" presId="urn:microsoft.com/office/officeart/2005/8/layout/vList2"/>
    <dgm:cxn modelId="{C4C58566-A038-465A-91DB-998D8C2176BF}" srcId="{FB89EEA0-3005-47B6-B7D1-4ADEA05CC9A8}" destId="{A3D23F6B-6253-4973-B8E4-8790EF206CDD}" srcOrd="0" destOrd="0" parTransId="{F041B6F4-93AD-4482-984A-21E68FD685D8}" sibTransId="{51C03B14-8C43-46E6-89FB-9B1C7132BD42}"/>
    <dgm:cxn modelId="{66B6E0D7-566B-45CC-8AA6-F0E94741E211}" type="presParOf" srcId="{27F1CB78-7B42-4A63-9A7F-33D00D50CD9D}" destId="{3E7A8635-CE56-47EF-B490-D5DDB7A2249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D4296F7-3147-42F1-9118-390B747158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BD75F67-6B47-4581-B580-12A5B1EC4043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current acces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07D1C9C-C114-410D-ADF8-00E8197D5629}" type="parTrans" cxnId="{D60E4A4D-C839-4161-B310-DBB18A5D6473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7A19CDC-7204-42B0-8FA4-BE027227C4FE}" type="sibTrans" cxnId="{D60E4A4D-C839-4161-B310-DBB18A5D6473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B7CDDC2-604A-4C62-8E1C-2C2DC8009A19}" type="pres">
      <dgm:prSet presAssocID="{AD4296F7-3147-42F1-9118-390B747158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D4C9F8A-FD67-4728-AAC7-E0E2E201E1D3}" type="pres">
      <dgm:prSet presAssocID="{5BD75F67-6B47-4581-B580-12A5B1EC4043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42B3859-6D04-4808-B4E7-518A8B8765B4}" type="presOf" srcId="{5BD75F67-6B47-4581-B580-12A5B1EC4043}" destId="{AD4C9F8A-FD67-4728-AAC7-E0E2E201E1D3}" srcOrd="0" destOrd="0" presId="urn:microsoft.com/office/officeart/2005/8/layout/vList2"/>
    <dgm:cxn modelId="{D60E4A4D-C839-4161-B310-DBB18A5D6473}" srcId="{AD4296F7-3147-42F1-9118-390B74715860}" destId="{5BD75F67-6B47-4581-B580-12A5B1EC4043}" srcOrd="0" destOrd="0" parTransId="{907D1C9C-C114-410D-ADF8-00E8197D5629}" sibTransId="{F7A19CDC-7204-42B0-8FA4-BE027227C4FE}"/>
    <dgm:cxn modelId="{90DF8494-7F4C-4D65-9C62-068161E28FFC}" type="presOf" srcId="{AD4296F7-3147-42F1-9118-390B74715860}" destId="{CB7CDDC2-604A-4C62-8E1C-2C2DC8009A19}" srcOrd="0" destOrd="0" presId="urn:microsoft.com/office/officeart/2005/8/layout/vList2"/>
    <dgm:cxn modelId="{FC01BFF2-1083-4BED-99BB-303EB1FE7FB4}" type="presParOf" srcId="{CB7CDDC2-604A-4C62-8E1C-2C2DC8009A19}" destId="{AD4C9F8A-FD67-4728-AAC7-E0E2E201E1D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EEAE0EC-C26F-4DC5-A41A-698826DD714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8E296CA-5C31-4DCB-BCED-AE281C7AEAC1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Data redundancy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A92ABFF-84D8-48BE-930D-3626222798BF}" type="parTrans" cxnId="{C85DC860-2B45-4144-AD61-86C43528B7FF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13362AD-1612-4989-BFC3-35C069DBA6A8}" type="sibTrans" cxnId="{C85DC860-2B45-4144-AD61-86C43528B7FF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ECFD05-814B-4C12-B7EB-E2FF17F6BA84}" type="pres">
      <dgm:prSet presAssocID="{AEEAE0EC-C26F-4DC5-A41A-698826DD71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8D96BD7-958B-4FAE-BA0C-3D56CEBC2C26}" type="pres">
      <dgm:prSet presAssocID="{E8E296CA-5C31-4DCB-BCED-AE281C7AEAC1}" presName="parentText" presStyleLbl="node1" presStyleIdx="0" presStyleCnt="1" custLinFactNeighborX="12281" custLinFactNeighborY="-132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85DC860-2B45-4144-AD61-86C43528B7FF}" srcId="{AEEAE0EC-C26F-4DC5-A41A-698826DD714C}" destId="{E8E296CA-5C31-4DCB-BCED-AE281C7AEAC1}" srcOrd="0" destOrd="0" parTransId="{7A92ABFF-84D8-48BE-930D-3626222798BF}" sibTransId="{E13362AD-1612-4989-BFC3-35C069DBA6A8}"/>
    <dgm:cxn modelId="{30A04C63-8733-4444-880C-F1E2E20999FE}" type="presOf" srcId="{E8E296CA-5C31-4DCB-BCED-AE281C7AEAC1}" destId="{08D96BD7-958B-4FAE-BA0C-3D56CEBC2C26}" srcOrd="0" destOrd="0" presId="urn:microsoft.com/office/officeart/2005/8/layout/vList2"/>
    <dgm:cxn modelId="{8A292444-A1D1-4B36-A58D-DBF4A669EFD7}" type="presOf" srcId="{AEEAE0EC-C26F-4DC5-A41A-698826DD714C}" destId="{98ECFD05-814B-4C12-B7EB-E2FF17F6BA84}" srcOrd="0" destOrd="0" presId="urn:microsoft.com/office/officeart/2005/8/layout/vList2"/>
    <dgm:cxn modelId="{08618139-89D9-4CBC-B2EF-81508BD9E6D4}" type="presParOf" srcId="{98ECFD05-814B-4C12-B7EB-E2FF17F6BA84}" destId="{08D96BD7-958B-4FAE-BA0C-3D56CEBC2C2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C5412DF-A7A3-46F2-B8DF-D619D57AC27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52FF92-EC72-4794-B210-16B211B35E93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Data Inconsistency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67FB5BB-E215-4F9C-AB5C-23CEF40376F2}" type="parTrans" cxnId="{8B24936A-212D-4482-A7EB-F3D003A208F2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447131-FCB8-4658-9903-78FEA968020E}" type="sibTrans" cxnId="{8B24936A-212D-4482-A7EB-F3D003A208F2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B83CE8-8236-4CDD-A2C9-0517A54E5735}" type="pres">
      <dgm:prSet presAssocID="{6C5412DF-A7A3-46F2-B8DF-D619D57AC27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104D9C-B9FC-4F67-BF9A-57636F446B3E}" type="pres">
      <dgm:prSet presAssocID="{7D52FF92-EC72-4794-B210-16B211B35E93}" presName="parentText" presStyleLbl="node1" presStyleIdx="0" presStyleCnt="1" custLinFactNeighborX="9091" custLinFactNeighborY="-6192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24936A-212D-4482-A7EB-F3D003A208F2}" srcId="{6C5412DF-A7A3-46F2-B8DF-D619D57AC278}" destId="{7D52FF92-EC72-4794-B210-16B211B35E93}" srcOrd="0" destOrd="0" parTransId="{567FB5BB-E215-4F9C-AB5C-23CEF40376F2}" sibTransId="{EE447131-FCB8-4658-9903-78FEA968020E}"/>
    <dgm:cxn modelId="{E92A9EB7-EDE2-4F79-B805-BC717E4C2E22}" type="presOf" srcId="{6C5412DF-A7A3-46F2-B8DF-D619D57AC278}" destId="{9DB83CE8-8236-4CDD-A2C9-0517A54E5735}" srcOrd="0" destOrd="0" presId="urn:microsoft.com/office/officeart/2005/8/layout/vList2"/>
    <dgm:cxn modelId="{2DD34838-D65C-455A-81E8-60DC260E786B}" type="presOf" srcId="{7D52FF92-EC72-4794-B210-16B211B35E93}" destId="{66104D9C-B9FC-4F67-BF9A-57636F446B3E}" srcOrd="0" destOrd="0" presId="urn:microsoft.com/office/officeart/2005/8/layout/vList2"/>
    <dgm:cxn modelId="{4BB1D61B-2341-42BD-915C-60A699E15E71}" type="presParOf" srcId="{9DB83CE8-8236-4CDD-A2C9-0517A54E5735}" destId="{66104D9C-B9FC-4F67-BF9A-57636F446B3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E9D60B6-05D7-4F24-8641-063DBFA2B3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D2890B-AFB3-4F2B-822C-7E02BD2B82BE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tomicity Problem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806F7D-91ED-4361-BA35-59A20525585E}" type="parTrans" cxnId="{E7E47A45-7E7C-44AB-933F-EA4A2EC42CC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53C6E03-069B-47F5-B511-4E1B30A149AD}" type="sibTrans" cxnId="{E7E47A45-7E7C-44AB-933F-EA4A2EC42CC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BD45374-2C62-4B81-BD85-D31170D8FF77}" type="pres">
      <dgm:prSet presAssocID="{FE9D60B6-05D7-4F24-8641-063DBFA2B3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68C9E7C-7E43-4359-90C4-6D0CC8404608}" type="pres">
      <dgm:prSet presAssocID="{07D2890B-AFB3-4F2B-822C-7E02BD2B82BE}" presName="parentText" presStyleLbl="node1" presStyleIdx="0" presStyleCnt="1" custLinFactNeighborX="-17" custLinFactNeighborY="-6283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271D694-DF85-457A-BA44-A6D0B2C79146}" type="presOf" srcId="{07D2890B-AFB3-4F2B-822C-7E02BD2B82BE}" destId="{868C9E7C-7E43-4359-90C4-6D0CC8404608}" srcOrd="0" destOrd="0" presId="urn:microsoft.com/office/officeart/2005/8/layout/vList2"/>
    <dgm:cxn modelId="{D8C7F0FD-672A-46FE-882D-556FAC6853D7}" type="presOf" srcId="{FE9D60B6-05D7-4F24-8641-063DBFA2B3A4}" destId="{BBD45374-2C62-4B81-BD85-D31170D8FF77}" srcOrd="0" destOrd="0" presId="urn:microsoft.com/office/officeart/2005/8/layout/vList2"/>
    <dgm:cxn modelId="{E7E47A45-7E7C-44AB-933F-EA4A2EC42CCE}" srcId="{FE9D60B6-05D7-4F24-8641-063DBFA2B3A4}" destId="{07D2890B-AFB3-4F2B-822C-7E02BD2B82BE}" srcOrd="0" destOrd="0" parTransId="{E7806F7D-91ED-4361-BA35-59A20525585E}" sibTransId="{553C6E03-069B-47F5-B511-4E1B30A149AD}"/>
    <dgm:cxn modelId="{8F95ECFB-5E74-4ABC-98B6-D39DD6307F6C}" type="presParOf" srcId="{BBD45374-2C62-4B81-BD85-D31170D8FF77}" destId="{868C9E7C-7E43-4359-90C4-6D0CC840460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2061092C-5436-4462-BC4C-AFB06591792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2F0867-DD9C-4681-89D8-16423BDF647B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Consistency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ACA68D6-D0DE-4F10-8705-45F23CF805C2}" type="parTrans" cxnId="{ED5DC51B-51E9-4B52-A808-5CCE1E5336D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D174A36-33FC-4963-AAF7-FAA5D5A4A6BA}" type="sibTrans" cxnId="{ED5DC51B-51E9-4B52-A808-5CCE1E5336D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7CDDF52-E491-4C93-A1E3-D7FD8DCAB877}" type="pres">
      <dgm:prSet presAssocID="{2061092C-5436-4462-BC4C-AFB06591792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00E3D8A-2D37-4455-96E4-CE78290E219E}" type="pres">
      <dgm:prSet presAssocID="{832F0867-DD9C-4681-89D8-16423BDF647B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5DC51B-51E9-4B52-A808-5CCE1E5336DE}" srcId="{2061092C-5436-4462-BC4C-AFB06591792C}" destId="{832F0867-DD9C-4681-89D8-16423BDF647B}" srcOrd="0" destOrd="0" parTransId="{3ACA68D6-D0DE-4F10-8705-45F23CF805C2}" sibTransId="{5D174A36-33FC-4963-AAF7-FAA5D5A4A6BA}"/>
    <dgm:cxn modelId="{569EEFFB-4E9C-407C-9BEA-1078CA120AF6}" type="presOf" srcId="{832F0867-DD9C-4681-89D8-16423BDF647B}" destId="{E00E3D8A-2D37-4455-96E4-CE78290E219E}" srcOrd="0" destOrd="0" presId="urn:microsoft.com/office/officeart/2005/8/layout/vList2"/>
    <dgm:cxn modelId="{F221E4C1-A7B7-4587-912E-F8C831FF1DE0}" type="presOf" srcId="{2061092C-5436-4462-BC4C-AFB06591792C}" destId="{97CDDF52-E491-4C93-A1E3-D7FD8DCAB877}" srcOrd="0" destOrd="0" presId="urn:microsoft.com/office/officeart/2005/8/layout/vList2"/>
    <dgm:cxn modelId="{D2EFA3F9-4CEB-4B38-B4A0-55D68548A5F7}" type="presParOf" srcId="{97CDDF52-E491-4C93-A1E3-D7FD8DCAB877}" destId="{E00E3D8A-2D37-4455-96E4-CE78290E21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98CC964-C64D-4F7D-9F2D-3C687C3052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FF03E4-60EF-4BAA-BD50-2EC24CF78474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tegrity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68F7B6A-C478-421B-ACE7-6BB0969884E5}" type="parTrans" cxnId="{5BC618DD-BB40-4D29-87B5-566E5F2B51E6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98FD56-FB21-4067-8586-407AE97D502F}" type="sibTrans" cxnId="{5BC618DD-BB40-4D29-87B5-566E5F2B51E6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18625DB-F9EF-42B2-B7D2-A37FCBEA88C8}" type="pres">
      <dgm:prSet presAssocID="{A98CC964-C64D-4F7D-9F2D-3C687C30520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784AF36-886F-4F8E-B299-BFFED737A39E}" type="pres">
      <dgm:prSet presAssocID="{58FF03E4-60EF-4BAA-BD50-2EC24CF78474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CA07EB2-C882-407B-88FD-D1159E9C0BCF}" type="presOf" srcId="{A98CC964-C64D-4F7D-9F2D-3C687C305203}" destId="{A18625DB-F9EF-42B2-B7D2-A37FCBEA88C8}" srcOrd="0" destOrd="0" presId="urn:microsoft.com/office/officeart/2005/8/layout/vList2"/>
    <dgm:cxn modelId="{B956530C-7149-48B7-8D0C-C8837476959C}" type="presOf" srcId="{58FF03E4-60EF-4BAA-BD50-2EC24CF78474}" destId="{5784AF36-886F-4F8E-B299-BFFED737A39E}" srcOrd="0" destOrd="0" presId="urn:microsoft.com/office/officeart/2005/8/layout/vList2"/>
    <dgm:cxn modelId="{5BC618DD-BB40-4D29-87B5-566E5F2B51E6}" srcId="{A98CC964-C64D-4F7D-9F2D-3C687C305203}" destId="{58FF03E4-60EF-4BAA-BD50-2EC24CF78474}" srcOrd="0" destOrd="0" parTransId="{168F7B6A-C478-421B-ACE7-6BB0969884E5}" sibTransId="{9598FD56-FB21-4067-8586-407AE97D502F}"/>
    <dgm:cxn modelId="{18357CAC-5CB7-482F-A6AE-78140B8457F6}" type="presParOf" srcId="{A18625DB-F9EF-42B2-B7D2-A37FCBEA88C8}" destId="{5784AF36-886F-4F8E-B299-BFFED737A3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8235E1F-93E6-41A2-81F2-5054C34675F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951C84B-17D0-4C32-8D99-6D0AAD039650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covery service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89A8B3A-620B-437E-B985-1524446F1311}" type="parTrans" cxnId="{BD1633A9-875A-418E-A518-E63EAB6EC7E8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69CA4C7-C222-4221-86D1-C72E88AE635C}" type="sibTrans" cxnId="{BD1633A9-875A-418E-A518-E63EAB6EC7E8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B4968F2-7AF1-48C2-9684-03A4B5C65B2D}" type="pres">
      <dgm:prSet presAssocID="{C8235E1F-93E6-41A2-81F2-5054C34675F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20A7E13-5BA6-4137-9B5C-B6A0232509BE}" type="pres">
      <dgm:prSet presAssocID="{A951C84B-17D0-4C32-8D99-6D0AAD03965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ADE405-6A63-4C18-B16B-B10EE2A51F24}" type="presOf" srcId="{C8235E1F-93E6-41A2-81F2-5054C34675FF}" destId="{FB4968F2-7AF1-48C2-9684-03A4B5C65B2D}" srcOrd="0" destOrd="0" presId="urn:microsoft.com/office/officeart/2005/8/layout/vList2"/>
    <dgm:cxn modelId="{BD1633A9-875A-418E-A518-E63EAB6EC7E8}" srcId="{C8235E1F-93E6-41A2-81F2-5054C34675FF}" destId="{A951C84B-17D0-4C32-8D99-6D0AAD039650}" srcOrd="0" destOrd="0" parTransId="{C89A8B3A-620B-437E-B985-1524446F1311}" sibTransId="{069CA4C7-C222-4221-86D1-C72E88AE635C}"/>
    <dgm:cxn modelId="{21A3EB85-7695-4606-8BB9-9C1BC7552E7C}" type="presOf" srcId="{A951C84B-17D0-4C32-8D99-6D0AAD039650}" destId="{120A7E13-5BA6-4137-9B5C-B6A0232509BE}" srcOrd="0" destOrd="0" presId="urn:microsoft.com/office/officeart/2005/8/layout/vList2"/>
    <dgm:cxn modelId="{712C0B8B-BFDA-41ED-802D-ED336A53D9DE}" type="presParOf" srcId="{FB4968F2-7AF1-48C2-9684-03A4B5C65B2D}" destId="{120A7E13-5BA6-4137-9B5C-B6A0232509B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2613756-85A6-477F-82F5-4EC2E41F317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CF062E-53AA-4ACC-B1AF-1DFBEC83A4F1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trolling Redundancy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028206D-EF03-41DE-A9D5-089A73CCF42B}" type="parTrans" cxnId="{B6FCA45A-4598-4C2F-B321-B17E9CDD1B14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599FC5A-23AA-4387-812B-73F0DFB85855}" type="sibTrans" cxnId="{B6FCA45A-4598-4C2F-B321-B17E9CDD1B14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B789016-1C99-4A5C-9293-A621ED639EE1}" type="pres">
      <dgm:prSet presAssocID="{F2613756-85A6-477F-82F5-4EC2E41F317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21CF6D-1A60-48ED-B7EC-51D4CD9995A3}" type="pres">
      <dgm:prSet presAssocID="{E7CF062E-53AA-4ACC-B1AF-1DFBEC83A4F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2E9D32-9E16-4E0F-B8E9-5D0C85F37718}" type="presOf" srcId="{F2613756-85A6-477F-82F5-4EC2E41F317C}" destId="{AB789016-1C99-4A5C-9293-A621ED639EE1}" srcOrd="0" destOrd="0" presId="urn:microsoft.com/office/officeart/2005/8/layout/vList2"/>
    <dgm:cxn modelId="{B6FCA45A-4598-4C2F-B321-B17E9CDD1B14}" srcId="{F2613756-85A6-477F-82F5-4EC2E41F317C}" destId="{E7CF062E-53AA-4ACC-B1AF-1DFBEC83A4F1}" srcOrd="0" destOrd="0" parTransId="{C028206D-EF03-41DE-A9D5-089A73CCF42B}" sibTransId="{E599FC5A-23AA-4387-812B-73F0DFB85855}"/>
    <dgm:cxn modelId="{21757CDE-185A-47A1-A3ED-A5E5DA34DE32}" type="presOf" srcId="{E7CF062E-53AA-4ACC-B1AF-1DFBEC83A4F1}" destId="{0921CF6D-1A60-48ED-B7EC-51D4CD9995A3}" srcOrd="0" destOrd="0" presId="urn:microsoft.com/office/officeart/2005/8/layout/vList2"/>
    <dgm:cxn modelId="{A8409B08-13EC-4471-A5C3-E78B8593FC72}" type="presParOf" srcId="{AB789016-1C99-4A5C-9293-A621ED639EE1}" destId="{0921CF6D-1A60-48ED-B7EC-51D4CD9995A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811BC24A-EF9F-48FB-9616-AFCC27F098D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EEE5FC-0736-4B81-89C8-98A5C0C9B066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stricting unauthorized acces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F85E242-0203-4D15-9CA9-FFAEBA603D8E}" type="parTrans" cxnId="{785B9631-AA30-46CA-B7F5-D4BA1F34410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799F7FE-4567-49D9-9FD1-A3B52763775B}" type="sibTrans" cxnId="{785B9631-AA30-46CA-B7F5-D4BA1F34410E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902D06E-C000-4595-8CBC-F538745A651C}" type="pres">
      <dgm:prSet presAssocID="{811BC24A-EF9F-48FB-9616-AFCC27F098D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1239242-1E93-47C1-95AC-73576CE34002}" type="pres">
      <dgm:prSet presAssocID="{7DEEE5FC-0736-4B81-89C8-98A5C0C9B06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4D4604-F1BE-4D70-839B-7714D42ED4A4}" type="presOf" srcId="{811BC24A-EF9F-48FB-9616-AFCC27F098DB}" destId="{1902D06E-C000-4595-8CBC-F538745A651C}" srcOrd="0" destOrd="0" presId="urn:microsoft.com/office/officeart/2005/8/layout/vList2"/>
    <dgm:cxn modelId="{785B9631-AA30-46CA-B7F5-D4BA1F34410E}" srcId="{811BC24A-EF9F-48FB-9616-AFCC27F098DB}" destId="{7DEEE5FC-0736-4B81-89C8-98A5C0C9B066}" srcOrd="0" destOrd="0" parTransId="{EF85E242-0203-4D15-9CA9-FFAEBA603D8E}" sibTransId="{9799F7FE-4567-49D9-9FD1-A3B52763775B}"/>
    <dgm:cxn modelId="{7A0A56F1-AF86-44FF-8887-A31BAA105C66}" type="presOf" srcId="{7DEEE5FC-0736-4B81-89C8-98A5C0C9B066}" destId="{91239242-1E93-47C1-95AC-73576CE34002}" srcOrd="0" destOrd="0" presId="urn:microsoft.com/office/officeart/2005/8/layout/vList2"/>
    <dgm:cxn modelId="{6CD7C845-6657-4653-95F9-AA3E2C808A69}" type="presParOf" srcId="{1902D06E-C000-4595-8CBC-F538745A651C}" destId="{91239242-1E93-47C1-95AC-73576CE3400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37E9A5-F1EA-49E1-A0EB-A9D5468B0C04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7AAD96-7A4D-4A9D-8F48-36B4D2B19815}">
      <dgm:prSet phldrT="[Text]"/>
      <dgm:spPr/>
      <dgm:t>
        <a:bodyPr/>
        <a:lstStyle/>
        <a:p>
          <a:r>
            <a:rPr lang="en-US" dirty="0" smtClean="0"/>
            <a:t>Device Management</a:t>
          </a:r>
          <a:endParaRPr lang="en-US" dirty="0"/>
        </a:p>
      </dgm:t>
    </dgm:pt>
    <dgm:pt modelId="{BC892D52-F849-4294-A53E-92FEC9648B29}" type="parTrans" cxnId="{9512C65D-1C01-43E5-9AE3-C6A1660D6A46}">
      <dgm:prSet/>
      <dgm:spPr/>
      <dgm:t>
        <a:bodyPr/>
        <a:lstStyle/>
        <a:p>
          <a:endParaRPr lang="en-US"/>
        </a:p>
      </dgm:t>
    </dgm:pt>
    <dgm:pt modelId="{58035D62-9D8E-4380-944A-F46D0FB4ED28}" type="sibTrans" cxnId="{9512C65D-1C01-43E5-9AE3-C6A1660D6A46}">
      <dgm:prSet/>
      <dgm:spPr/>
      <dgm:t>
        <a:bodyPr/>
        <a:lstStyle/>
        <a:p>
          <a:endParaRPr lang="en-US"/>
        </a:p>
      </dgm:t>
    </dgm:pt>
    <dgm:pt modelId="{CB354A0C-A3D8-4DE8-BD12-976DB95B1AE0}">
      <dgm:prSet phldrT="[Text]"/>
      <dgm:spPr/>
      <dgm:t>
        <a:bodyPr/>
        <a:lstStyle/>
        <a:p>
          <a:r>
            <a:rPr lang="en-US" dirty="0" smtClean="0"/>
            <a:t>Block Device</a:t>
          </a:r>
          <a:endParaRPr lang="en-US" dirty="0"/>
        </a:p>
      </dgm:t>
    </dgm:pt>
    <dgm:pt modelId="{42DB07BF-C8EC-43D0-95B6-BC8ED5ACB830}" type="parTrans" cxnId="{BCA38A6F-68EC-4522-A9D9-D4B0E720482F}">
      <dgm:prSet/>
      <dgm:spPr/>
      <dgm:t>
        <a:bodyPr/>
        <a:lstStyle/>
        <a:p>
          <a:endParaRPr lang="en-US"/>
        </a:p>
      </dgm:t>
    </dgm:pt>
    <dgm:pt modelId="{121D2DED-F16D-4CE5-AFF8-121E53A6967D}" type="sibTrans" cxnId="{BCA38A6F-68EC-4522-A9D9-D4B0E720482F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94662588-A443-44CE-AE80-AAC1DED9DB16}">
      <dgm:prSet phldrT="[Text]"/>
      <dgm:spPr/>
      <dgm:t>
        <a:bodyPr/>
        <a:lstStyle/>
        <a:p>
          <a:r>
            <a:rPr lang="en-US" dirty="0" smtClean="0"/>
            <a:t>Character Device </a:t>
          </a:r>
          <a:endParaRPr lang="en-US" dirty="0"/>
        </a:p>
      </dgm:t>
    </dgm:pt>
    <dgm:pt modelId="{650789A4-6ABC-4CE8-AA6E-AD048D7C59D2}" type="parTrans" cxnId="{878787B0-C90C-46E6-A0EC-1FC125520E0F}">
      <dgm:prSet/>
      <dgm:spPr/>
      <dgm:t>
        <a:bodyPr/>
        <a:lstStyle/>
        <a:p>
          <a:endParaRPr lang="en-US"/>
        </a:p>
      </dgm:t>
    </dgm:pt>
    <dgm:pt modelId="{3F314AC3-F325-4CD2-91A4-AD2D8E2D691D}" type="sibTrans" cxnId="{878787B0-C90C-46E6-A0EC-1FC125520E0F}">
      <dgm:prSet/>
      <dgm:spPr/>
      <dgm:t>
        <a:bodyPr/>
        <a:lstStyle/>
        <a:p>
          <a:endParaRPr lang="en-US"/>
        </a:p>
      </dgm:t>
    </dgm:pt>
    <dgm:pt modelId="{85467EF4-85AA-476E-8A58-07E2B58C7C15}" type="pres">
      <dgm:prSet presAssocID="{9237E9A5-F1EA-49E1-A0EB-A9D5468B0C0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DE51143-86F1-4CDB-88E9-6664EC088D2B}" type="pres">
      <dgm:prSet presAssocID="{717AAD96-7A4D-4A9D-8F48-36B4D2B19815}" presName="node" presStyleLbl="node1" presStyleIdx="0" presStyleCnt="3" custScaleX="1278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2E88C2-FD69-4465-8EEB-821CF1B16D5A}" type="pres">
      <dgm:prSet presAssocID="{58035D62-9D8E-4380-944A-F46D0FB4ED28}" presName="sibTrans" presStyleLbl="sibTrans2D1" presStyleIdx="0" presStyleCnt="3" custScaleX="265846" custScaleY="114121"/>
      <dgm:spPr/>
      <dgm:t>
        <a:bodyPr/>
        <a:lstStyle/>
        <a:p>
          <a:endParaRPr lang="en-US"/>
        </a:p>
      </dgm:t>
    </dgm:pt>
    <dgm:pt modelId="{A730B558-FCCC-433D-83C0-F5DD6F1291E5}" type="pres">
      <dgm:prSet presAssocID="{58035D62-9D8E-4380-944A-F46D0FB4ED28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65788452-4BE9-49FD-A139-51284C668080}" type="pres">
      <dgm:prSet presAssocID="{CB354A0C-A3D8-4DE8-BD12-976DB95B1AE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F24591-C92F-4D28-BB99-E3D217AE926C}" type="pres">
      <dgm:prSet presAssocID="{121D2DED-F16D-4CE5-AFF8-121E53A6967D}" presName="sibTrans" presStyleLbl="sibTrans2D1" presStyleIdx="1" presStyleCnt="3"/>
      <dgm:spPr/>
      <dgm:t>
        <a:bodyPr/>
        <a:lstStyle/>
        <a:p>
          <a:endParaRPr lang="en-US"/>
        </a:p>
      </dgm:t>
    </dgm:pt>
    <dgm:pt modelId="{B6E7C64C-977C-4D53-B0FF-93AAC91C6349}" type="pres">
      <dgm:prSet presAssocID="{121D2DED-F16D-4CE5-AFF8-121E53A6967D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AAEE297A-253E-409B-8C98-AF40FA47262A}" type="pres">
      <dgm:prSet presAssocID="{94662588-A443-44CE-AE80-AAC1DED9DB16}" presName="node" presStyleLbl="node1" presStyleIdx="2" presStyleCnt="3" custScaleX="1430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033CE0-6666-4782-B805-6F90415335CB}" type="pres">
      <dgm:prSet presAssocID="{3F314AC3-F325-4CD2-91A4-AD2D8E2D691D}" presName="sibTrans" presStyleLbl="sibTrans2D1" presStyleIdx="2" presStyleCnt="3" custScaleX="256492" custScaleY="92813"/>
      <dgm:spPr/>
      <dgm:t>
        <a:bodyPr/>
        <a:lstStyle/>
        <a:p>
          <a:endParaRPr lang="en-US"/>
        </a:p>
      </dgm:t>
    </dgm:pt>
    <dgm:pt modelId="{ADB7F65F-F7A4-426D-A905-9A7B987FA094}" type="pres">
      <dgm:prSet presAssocID="{3F314AC3-F325-4CD2-91A4-AD2D8E2D691D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41BFEC65-DAC4-4B6D-A42B-7468633859CA}" type="presOf" srcId="{121D2DED-F16D-4CE5-AFF8-121E53A6967D}" destId="{10F24591-C92F-4D28-BB99-E3D217AE926C}" srcOrd="0" destOrd="0" presId="urn:microsoft.com/office/officeart/2005/8/layout/cycle7"/>
    <dgm:cxn modelId="{878787B0-C90C-46E6-A0EC-1FC125520E0F}" srcId="{9237E9A5-F1EA-49E1-A0EB-A9D5468B0C04}" destId="{94662588-A443-44CE-AE80-AAC1DED9DB16}" srcOrd="2" destOrd="0" parTransId="{650789A4-6ABC-4CE8-AA6E-AD048D7C59D2}" sibTransId="{3F314AC3-F325-4CD2-91A4-AD2D8E2D691D}"/>
    <dgm:cxn modelId="{13AEF5D7-756A-428E-8881-C396491F4173}" type="presOf" srcId="{9237E9A5-F1EA-49E1-A0EB-A9D5468B0C04}" destId="{85467EF4-85AA-476E-8A58-07E2B58C7C15}" srcOrd="0" destOrd="0" presId="urn:microsoft.com/office/officeart/2005/8/layout/cycle7"/>
    <dgm:cxn modelId="{74D26457-7C98-414A-9C2E-44F1831AC223}" type="presOf" srcId="{3F314AC3-F325-4CD2-91A4-AD2D8E2D691D}" destId="{CB033CE0-6666-4782-B805-6F90415335CB}" srcOrd="0" destOrd="0" presId="urn:microsoft.com/office/officeart/2005/8/layout/cycle7"/>
    <dgm:cxn modelId="{BCA38A6F-68EC-4522-A9D9-D4B0E720482F}" srcId="{9237E9A5-F1EA-49E1-A0EB-A9D5468B0C04}" destId="{CB354A0C-A3D8-4DE8-BD12-976DB95B1AE0}" srcOrd="1" destOrd="0" parTransId="{42DB07BF-C8EC-43D0-95B6-BC8ED5ACB830}" sibTransId="{121D2DED-F16D-4CE5-AFF8-121E53A6967D}"/>
    <dgm:cxn modelId="{092AF495-3A9A-4232-BF0E-6A4504F097EA}" type="presOf" srcId="{58035D62-9D8E-4380-944A-F46D0FB4ED28}" destId="{4D2E88C2-FD69-4465-8EEB-821CF1B16D5A}" srcOrd="0" destOrd="0" presId="urn:microsoft.com/office/officeart/2005/8/layout/cycle7"/>
    <dgm:cxn modelId="{1CCA5852-913C-41AA-8177-4AA476CAE56D}" type="presOf" srcId="{58035D62-9D8E-4380-944A-F46D0FB4ED28}" destId="{A730B558-FCCC-433D-83C0-F5DD6F1291E5}" srcOrd="1" destOrd="0" presId="urn:microsoft.com/office/officeart/2005/8/layout/cycle7"/>
    <dgm:cxn modelId="{8367018F-1E08-47A9-89A3-653BA964B629}" type="presOf" srcId="{3F314AC3-F325-4CD2-91A4-AD2D8E2D691D}" destId="{ADB7F65F-F7A4-426D-A905-9A7B987FA094}" srcOrd="1" destOrd="0" presId="urn:microsoft.com/office/officeart/2005/8/layout/cycle7"/>
    <dgm:cxn modelId="{3655B201-9C2E-4DA3-B89C-7212D361C389}" type="presOf" srcId="{717AAD96-7A4D-4A9D-8F48-36B4D2B19815}" destId="{8DE51143-86F1-4CDB-88E9-6664EC088D2B}" srcOrd="0" destOrd="0" presId="urn:microsoft.com/office/officeart/2005/8/layout/cycle7"/>
    <dgm:cxn modelId="{CF15E3D0-E7E2-4D78-AAB2-A7B7D3EDE9E1}" type="presOf" srcId="{121D2DED-F16D-4CE5-AFF8-121E53A6967D}" destId="{B6E7C64C-977C-4D53-B0FF-93AAC91C6349}" srcOrd="1" destOrd="0" presId="urn:microsoft.com/office/officeart/2005/8/layout/cycle7"/>
    <dgm:cxn modelId="{4168CD74-DAE1-4899-B97E-37A1E72AC6DB}" type="presOf" srcId="{CB354A0C-A3D8-4DE8-BD12-976DB95B1AE0}" destId="{65788452-4BE9-49FD-A139-51284C668080}" srcOrd="0" destOrd="0" presId="urn:microsoft.com/office/officeart/2005/8/layout/cycle7"/>
    <dgm:cxn modelId="{9512C65D-1C01-43E5-9AE3-C6A1660D6A46}" srcId="{9237E9A5-F1EA-49E1-A0EB-A9D5468B0C04}" destId="{717AAD96-7A4D-4A9D-8F48-36B4D2B19815}" srcOrd="0" destOrd="0" parTransId="{BC892D52-F849-4294-A53E-92FEC9648B29}" sibTransId="{58035D62-9D8E-4380-944A-F46D0FB4ED28}"/>
    <dgm:cxn modelId="{EDF12AEE-C94A-4A27-82C3-12E01AD3FD96}" type="presOf" srcId="{94662588-A443-44CE-AE80-AAC1DED9DB16}" destId="{AAEE297A-253E-409B-8C98-AF40FA47262A}" srcOrd="0" destOrd="0" presId="urn:microsoft.com/office/officeart/2005/8/layout/cycle7"/>
    <dgm:cxn modelId="{1CB16C30-BD22-4073-B593-81ACE3A3588C}" type="presParOf" srcId="{85467EF4-85AA-476E-8A58-07E2B58C7C15}" destId="{8DE51143-86F1-4CDB-88E9-6664EC088D2B}" srcOrd="0" destOrd="0" presId="urn:microsoft.com/office/officeart/2005/8/layout/cycle7"/>
    <dgm:cxn modelId="{BE0B3422-0B42-4EC2-8225-8A9E1472EBF3}" type="presParOf" srcId="{85467EF4-85AA-476E-8A58-07E2B58C7C15}" destId="{4D2E88C2-FD69-4465-8EEB-821CF1B16D5A}" srcOrd="1" destOrd="0" presId="urn:microsoft.com/office/officeart/2005/8/layout/cycle7"/>
    <dgm:cxn modelId="{574F02D2-395C-4A89-8ADA-E3740620B34B}" type="presParOf" srcId="{4D2E88C2-FD69-4465-8EEB-821CF1B16D5A}" destId="{A730B558-FCCC-433D-83C0-F5DD6F1291E5}" srcOrd="0" destOrd="0" presId="urn:microsoft.com/office/officeart/2005/8/layout/cycle7"/>
    <dgm:cxn modelId="{C3C37BC0-CB3D-4F8B-8B54-2484D13AEC61}" type="presParOf" srcId="{85467EF4-85AA-476E-8A58-07E2B58C7C15}" destId="{65788452-4BE9-49FD-A139-51284C668080}" srcOrd="2" destOrd="0" presId="urn:microsoft.com/office/officeart/2005/8/layout/cycle7"/>
    <dgm:cxn modelId="{ED6AFC8E-8820-46B2-92CF-AED740C1966E}" type="presParOf" srcId="{85467EF4-85AA-476E-8A58-07E2B58C7C15}" destId="{10F24591-C92F-4D28-BB99-E3D217AE926C}" srcOrd="3" destOrd="0" presId="urn:microsoft.com/office/officeart/2005/8/layout/cycle7"/>
    <dgm:cxn modelId="{CD0C05E7-9425-46BB-8BB8-2B71F896EB03}" type="presParOf" srcId="{10F24591-C92F-4D28-BB99-E3D217AE926C}" destId="{B6E7C64C-977C-4D53-B0FF-93AAC91C6349}" srcOrd="0" destOrd="0" presId="urn:microsoft.com/office/officeart/2005/8/layout/cycle7"/>
    <dgm:cxn modelId="{0C75808F-3998-4DE4-8641-33FB37A5D094}" type="presParOf" srcId="{85467EF4-85AA-476E-8A58-07E2B58C7C15}" destId="{AAEE297A-253E-409B-8C98-AF40FA47262A}" srcOrd="4" destOrd="0" presId="urn:microsoft.com/office/officeart/2005/8/layout/cycle7"/>
    <dgm:cxn modelId="{7E3E27D4-DA52-4475-A1B4-719F06D645C3}" type="presParOf" srcId="{85467EF4-85AA-476E-8A58-07E2B58C7C15}" destId="{CB033CE0-6666-4782-B805-6F90415335CB}" srcOrd="5" destOrd="0" presId="urn:microsoft.com/office/officeart/2005/8/layout/cycle7"/>
    <dgm:cxn modelId="{616398FE-40E0-4AC9-A706-F2C28F7542F6}" type="presParOf" srcId="{CB033CE0-6666-4782-B805-6F90415335CB}" destId="{ADB7F65F-F7A4-426D-A905-9A7B987FA094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4A87CA63-632B-4ED1-8105-D805E72BCB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F1F707D-5D90-430B-9A9E-2FFA92161342}">
      <dgm:prSet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currency Control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9D1F865-8A52-439A-A16E-386C2F65E93B}" type="parTrans" cxnId="{8FA68FB3-9447-4882-B168-04A57BF42B4C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55EB462-AD0C-44F6-8E56-CE47ABD62D12}" type="sibTrans" cxnId="{8FA68FB3-9447-4882-B168-04A57BF42B4C}">
      <dgm:prSet/>
      <dgm:spPr/>
      <dgm:t>
        <a:bodyPr/>
        <a:lstStyle/>
        <a:p>
          <a:endParaRPr lang="en-US" sz="24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1C9C728-8C68-41E9-A5ED-D6415A3EA929}" type="pres">
      <dgm:prSet presAssocID="{4A87CA63-632B-4ED1-8105-D805E72BCB5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246686E-58E5-4CDE-8C41-DCE6262D1FB9}" type="pres">
      <dgm:prSet presAssocID="{CF1F707D-5D90-430B-9A9E-2FFA9216134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6F7BCF-9DFE-4436-A47F-5B337083086E}" type="presOf" srcId="{4A87CA63-632B-4ED1-8105-D805E72BCB55}" destId="{11C9C728-8C68-41E9-A5ED-D6415A3EA929}" srcOrd="0" destOrd="0" presId="urn:microsoft.com/office/officeart/2005/8/layout/vList2"/>
    <dgm:cxn modelId="{8FA68FB3-9447-4882-B168-04A57BF42B4C}" srcId="{4A87CA63-632B-4ED1-8105-D805E72BCB55}" destId="{CF1F707D-5D90-430B-9A9E-2FFA92161342}" srcOrd="0" destOrd="0" parTransId="{89D1F865-8A52-439A-A16E-386C2F65E93B}" sibTransId="{555EB462-AD0C-44F6-8E56-CE47ABD62D12}"/>
    <dgm:cxn modelId="{2509BB1F-39DA-4FEA-ABCE-6EE72849577B}" type="presOf" srcId="{CF1F707D-5D90-430B-9A9E-2FFA92161342}" destId="{3246686E-58E5-4CDE-8C41-DCE6262D1FB9}" srcOrd="0" destOrd="0" presId="urn:microsoft.com/office/officeart/2005/8/layout/vList2"/>
    <dgm:cxn modelId="{162BFF1F-063A-4E60-AF06-A96D3E95EFF3}" type="presParOf" srcId="{11C9C728-8C68-41E9-A5ED-D6415A3EA929}" destId="{3246686E-58E5-4CDE-8C41-DCE6262D1FB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6B4834-D243-43D3-B7AA-F1B2F51971C8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E0A048-20B7-4108-B671-E43D052E5E5A}">
      <dgm:prSet phldrT="[Text]" custT="1"/>
      <dgm:spPr/>
      <dgm:t>
        <a:bodyPr/>
        <a:lstStyle/>
        <a:p>
          <a:r>
            <a:rPr lang="en-US" sz="1100" dirty="0" smtClean="0"/>
            <a:t>Memory Management </a:t>
          </a:r>
          <a:endParaRPr lang="en-US" sz="1100" dirty="0"/>
        </a:p>
      </dgm:t>
    </dgm:pt>
    <dgm:pt modelId="{A1F58AD5-0A76-4C18-BF90-D78F3762F3D3}" type="parTrans" cxnId="{7BFBD10D-4F8F-4908-94AC-3E845CD71AA2}">
      <dgm:prSet/>
      <dgm:spPr/>
      <dgm:t>
        <a:bodyPr/>
        <a:lstStyle/>
        <a:p>
          <a:endParaRPr lang="en-US"/>
        </a:p>
      </dgm:t>
    </dgm:pt>
    <dgm:pt modelId="{6FC4F981-0731-47C5-A123-4E10423FA50B}" type="sibTrans" cxnId="{7BFBD10D-4F8F-4908-94AC-3E845CD71AA2}">
      <dgm:prSet/>
      <dgm:spPr/>
      <dgm:t>
        <a:bodyPr/>
        <a:lstStyle/>
        <a:p>
          <a:endParaRPr lang="en-US"/>
        </a:p>
      </dgm:t>
    </dgm:pt>
    <dgm:pt modelId="{8C1DBFB2-322F-426D-9075-748120BD624D}">
      <dgm:prSet phldrT="[Text]"/>
      <dgm:spPr/>
      <dgm:t>
        <a:bodyPr/>
        <a:lstStyle/>
        <a:p>
          <a:r>
            <a:rPr lang="en-US" dirty="0" smtClean="0"/>
            <a:t>Buddy System</a:t>
          </a:r>
          <a:endParaRPr lang="en-US" dirty="0"/>
        </a:p>
      </dgm:t>
    </dgm:pt>
    <dgm:pt modelId="{01447DB6-3E9D-4E80-A19F-8668A9E24D21}" type="parTrans" cxnId="{986810C4-0072-437A-A66A-483571330730}">
      <dgm:prSet/>
      <dgm:spPr/>
      <dgm:t>
        <a:bodyPr/>
        <a:lstStyle/>
        <a:p>
          <a:endParaRPr lang="en-US"/>
        </a:p>
      </dgm:t>
    </dgm:pt>
    <dgm:pt modelId="{1AEBE758-6995-4D0B-B3C9-4A627C018CA0}" type="sibTrans" cxnId="{986810C4-0072-437A-A66A-483571330730}">
      <dgm:prSet/>
      <dgm:spPr/>
      <dgm:t>
        <a:bodyPr/>
        <a:lstStyle/>
        <a:p>
          <a:endParaRPr lang="en-US"/>
        </a:p>
      </dgm:t>
    </dgm:pt>
    <dgm:pt modelId="{BAF5DCD5-2AE3-4740-9D4E-E2F6CB383128}">
      <dgm:prSet phldrT="[Text]"/>
      <dgm:spPr/>
      <dgm:t>
        <a:bodyPr/>
        <a:lstStyle/>
        <a:p>
          <a:r>
            <a:rPr lang="en-US" dirty="0" smtClean="0"/>
            <a:t>LRU</a:t>
          </a:r>
          <a:endParaRPr lang="en-US" dirty="0"/>
        </a:p>
      </dgm:t>
    </dgm:pt>
    <dgm:pt modelId="{E286FA02-C4DA-4998-83FC-E2E552B77CDA}" type="parTrans" cxnId="{A2AE62E0-0039-4F17-A5FE-7E1E0A23CE8B}">
      <dgm:prSet/>
      <dgm:spPr/>
      <dgm:t>
        <a:bodyPr/>
        <a:lstStyle/>
        <a:p>
          <a:endParaRPr lang="en-US"/>
        </a:p>
      </dgm:t>
    </dgm:pt>
    <dgm:pt modelId="{D2E04A0C-5016-4873-90F5-42771CA4C2B4}" type="sibTrans" cxnId="{A2AE62E0-0039-4F17-A5FE-7E1E0A23CE8B}">
      <dgm:prSet/>
      <dgm:spPr/>
      <dgm:t>
        <a:bodyPr/>
        <a:lstStyle/>
        <a:p>
          <a:endParaRPr lang="en-US"/>
        </a:p>
      </dgm:t>
    </dgm:pt>
    <dgm:pt modelId="{B4A0071D-B500-44F1-AAC8-E2B504CD7AD8}" type="pres">
      <dgm:prSet presAssocID="{116B4834-D243-43D3-B7AA-F1B2F51971C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A9F5EE1-100B-4010-8E81-F884437A4C53}" type="pres">
      <dgm:prSet presAssocID="{7EE0A048-20B7-4108-B671-E43D052E5E5A}" presName="centerShape" presStyleLbl="node0" presStyleIdx="0" presStyleCnt="1"/>
      <dgm:spPr/>
      <dgm:t>
        <a:bodyPr/>
        <a:lstStyle/>
        <a:p>
          <a:endParaRPr lang="en-US"/>
        </a:p>
      </dgm:t>
    </dgm:pt>
    <dgm:pt modelId="{34B55A89-74DA-4109-A603-93E27CD2EF30}" type="pres">
      <dgm:prSet presAssocID="{01447DB6-3E9D-4E80-A19F-8668A9E24D21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DF88E63-24BE-4528-8F35-301BBF075C44}" type="pres">
      <dgm:prSet presAssocID="{8C1DBFB2-322F-426D-9075-748120BD624D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657F35-32BD-4DA9-A6D4-4EACECE3F9AC}" type="pres">
      <dgm:prSet presAssocID="{E286FA02-C4DA-4998-83FC-E2E552B77CD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7F6307FB-E60E-40B4-B22B-D715E3BD6A5B}" type="pres">
      <dgm:prSet presAssocID="{BAF5DCD5-2AE3-4740-9D4E-E2F6CB383128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FA6F0FB-4BAB-4776-9663-C7DF2204988F}" type="presOf" srcId="{E286FA02-C4DA-4998-83FC-E2E552B77CDA}" destId="{11657F35-32BD-4DA9-A6D4-4EACECE3F9AC}" srcOrd="0" destOrd="0" presId="urn:microsoft.com/office/officeart/2005/8/layout/radial4"/>
    <dgm:cxn modelId="{AC6EE16E-E00B-46DF-AFE9-3EF3CFA550B1}" type="presOf" srcId="{8C1DBFB2-322F-426D-9075-748120BD624D}" destId="{ADF88E63-24BE-4528-8F35-301BBF075C44}" srcOrd="0" destOrd="0" presId="urn:microsoft.com/office/officeart/2005/8/layout/radial4"/>
    <dgm:cxn modelId="{986810C4-0072-437A-A66A-483571330730}" srcId="{7EE0A048-20B7-4108-B671-E43D052E5E5A}" destId="{8C1DBFB2-322F-426D-9075-748120BD624D}" srcOrd="0" destOrd="0" parTransId="{01447DB6-3E9D-4E80-A19F-8668A9E24D21}" sibTransId="{1AEBE758-6995-4D0B-B3C9-4A627C018CA0}"/>
    <dgm:cxn modelId="{A2AE62E0-0039-4F17-A5FE-7E1E0A23CE8B}" srcId="{7EE0A048-20B7-4108-B671-E43D052E5E5A}" destId="{BAF5DCD5-2AE3-4740-9D4E-E2F6CB383128}" srcOrd="1" destOrd="0" parTransId="{E286FA02-C4DA-4998-83FC-E2E552B77CDA}" sibTransId="{D2E04A0C-5016-4873-90F5-42771CA4C2B4}"/>
    <dgm:cxn modelId="{1BE05E3C-30EC-44B9-A111-1D3F4DB3ECB2}" type="presOf" srcId="{BAF5DCD5-2AE3-4740-9D4E-E2F6CB383128}" destId="{7F6307FB-E60E-40B4-B22B-D715E3BD6A5B}" srcOrd="0" destOrd="0" presId="urn:microsoft.com/office/officeart/2005/8/layout/radial4"/>
    <dgm:cxn modelId="{7BFBD10D-4F8F-4908-94AC-3E845CD71AA2}" srcId="{116B4834-D243-43D3-B7AA-F1B2F51971C8}" destId="{7EE0A048-20B7-4108-B671-E43D052E5E5A}" srcOrd="0" destOrd="0" parTransId="{A1F58AD5-0A76-4C18-BF90-D78F3762F3D3}" sibTransId="{6FC4F981-0731-47C5-A123-4E10423FA50B}"/>
    <dgm:cxn modelId="{C39A48CC-06FE-4CDA-AA33-159F07C78D66}" type="presOf" srcId="{01447DB6-3E9D-4E80-A19F-8668A9E24D21}" destId="{34B55A89-74DA-4109-A603-93E27CD2EF30}" srcOrd="0" destOrd="0" presId="urn:microsoft.com/office/officeart/2005/8/layout/radial4"/>
    <dgm:cxn modelId="{A5C1E3C6-F273-4293-874D-BC901C3C6253}" type="presOf" srcId="{116B4834-D243-43D3-B7AA-F1B2F51971C8}" destId="{B4A0071D-B500-44F1-AAC8-E2B504CD7AD8}" srcOrd="0" destOrd="0" presId="urn:microsoft.com/office/officeart/2005/8/layout/radial4"/>
    <dgm:cxn modelId="{26163C3C-AC16-4E3E-AFEE-BB88203B1EDE}" type="presOf" srcId="{7EE0A048-20B7-4108-B671-E43D052E5E5A}" destId="{6A9F5EE1-100B-4010-8E81-F884437A4C53}" srcOrd="0" destOrd="0" presId="urn:microsoft.com/office/officeart/2005/8/layout/radial4"/>
    <dgm:cxn modelId="{91C5D8D8-FDCB-4AE3-BC2C-DC7859922BD9}" type="presParOf" srcId="{B4A0071D-B500-44F1-AAC8-E2B504CD7AD8}" destId="{6A9F5EE1-100B-4010-8E81-F884437A4C53}" srcOrd="0" destOrd="0" presId="urn:microsoft.com/office/officeart/2005/8/layout/radial4"/>
    <dgm:cxn modelId="{71C9142D-ADC2-4FE3-8F4E-58C798D05A8A}" type="presParOf" srcId="{B4A0071D-B500-44F1-AAC8-E2B504CD7AD8}" destId="{34B55A89-74DA-4109-A603-93E27CD2EF30}" srcOrd="1" destOrd="0" presId="urn:microsoft.com/office/officeart/2005/8/layout/radial4"/>
    <dgm:cxn modelId="{AD13240A-9CFD-47B7-9320-C5CBCDA00195}" type="presParOf" srcId="{B4A0071D-B500-44F1-AAC8-E2B504CD7AD8}" destId="{ADF88E63-24BE-4528-8F35-301BBF075C44}" srcOrd="2" destOrd="0" presId="urn:microsoft.com/office/officeart/2005/8/layout/radial4"/>
    <dgm:cxn modelId="{0B3E74D1-E742-4917-BE6D-4492546BCE9E}" type="presParOf" srcId="{B4A0071D-B500-44F1-AAC8-E2B504CD7AD8}" destId="{11657F35-32BD-4DA9-A6D4-4EACECE3F9AC}" srcOrd="3" destOrd="0" presId="urn:microsoft.com/office/officeart/2005/8/layout/radial4"/>
    <dgm:cxn modelId="{EFC543AE-2D29-496A-8DE8-9C8C1A671ED3}" type="presParOf" srcId="{B4A0071D-B500-44F1-AAC8-E2B504CD7AD8}" destId="{7F6307FB-E60E-40B4-B22B-D715E3BD6A5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41BDB7-DDD5-46F2-AD2B-48CA171E7A7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2E625B-8056-4952-B1A8-959E50D6104B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PRESENTATION LAYER</a:t>
          </a:r>
          <a:endParaRPr lang="en-US" sz="24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69394DB-5986-4D0B-8ADF-1F9F1155B53B}" type="parTrans" cxnId="{0F7DA718-71B0-41D2-A8DB-2051D72AF9C8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AF09DD-28EF-4A64-86D1-DA87CD35DBFF}" type="sibTrans" cxnId="{0F7DA718-71B0-41D2-A8DB-2051D72AF9C8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5F20EE8-B175-46A2-BFC0-CA2DCB507688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USINESS LOGIC LAYER</a:t>
          </a:r>
          <a:endParaRPr lang="en-US" sz="24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46F7BE8-E35F-46F6-9F96-B6B65AEE6D30}" type="parTrans" cxnId="{B6DAFE77-CC4F-4E92-B478-E13C082E4F65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6E5E62-27F0-448C-B96B-1ABBB9EEEDA9}" type="sibTrans" cxnId="{B6DAFE77-CC4F-4E92-B478-E13C082E4F65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3765BC-405D-4979-B88A-18DB4AE80B80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ATA ACCESS LAYER</a:t>
          </a:r>
          <a:endParaRPr lang="en-US" sz="24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08A7F44-3194-4B07-B213-066715517BD4}" type="parTrans" cxnId="{C0320783-7DD6-426D-9498-168BD3F9F09C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E182C90-7099-41E3-A2D8-B321940382A7}" type="sibTrans" cxnId="{C0320783-7DD6-426D-9498-168BD3F9F09C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5E6618D-16D5-419B-AB8B-89C0F3442A2B}" type="pres">
      <dgm:prSet presAssocID="{EF41BDB7-DDD5-46F2-AD2B-48CA171E7A7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EFE397B-9D03-4B34-8813-7FF29FE9CECF}" type="pres">
      <dgm:prSet presAssocID="{EF41BDB7-DDD5-46F2-AD2B-48CA171E7A7C}" presName="Name1" presStyleCnt="0"/>
      <dgm:spPr/>
    </dgm:pt>
    <dgm:pt modelId="{88ADA31A-CBC6-4D57-A0D4-76FBD4E311F5}" type="pres">
      <dgm:prSet presAssocID="{EF41BDB7-DDD5-46F2-AD2B-48CA171E7A7C}" presName="cycle" presStyleCnt="0"/>
      <dgm:spPr/>
    </dgm:pt>
    <dgm:pt modelId="{25A0D326-7C81-413D-B592-8F0C87A23782}" type="pres">
      <dgm:prSet presAssocID="{EF41BDB7-DDD5-46F2-AD2B-48CA171E7A7C}" presName="srcNode" presStyleLbl="node1" presStyleIdx="0" presStyleCnt="3"/>
      <dgm:spPr/>
    </dgm:pt>
    <dgm:pt modelId="{D104D0C0-65BE-4ECE-931E-77C13A99999C}" type="pres">
      <dgm:prSet presAssocID="{EF41BDB7-DDD5-46F2-AD2B-48CA171E7A7C}" presName="conn" presStyleLbl="parChTrans1D2" presStyleIdx="0" presStyleCnt="1"/>
      <dgm:spPr/>
      <dgm:t>
        <a:bodyPr/>
        <a:lstStyle/>
        <a:p>
          <a:endParaRPr lang="en-US"/>
        </a:p>
      </dgm:t>
    </dgm:pt>
    <dgm:pt modelId="{22F7BD8A-7541-46CF-920D-66A136EE55E7}" type="pres">
      <dgm:prSet presAssocID="{EF41BDB7-DDD5-46F2-AD2B-48CA171E7A7C}" presName="extraNode" presStyleLbl="node1" presStyleIdx="0" presStyleCnt="3"/>
      <dgm:spPr/>
    </dgm:pt>
    <dgm:pt modelId="{9A51BBDC-C5DD-4770-8AE1-B678AE18917C}" type="pres">
      <dgm:prSet presAssocID="{EF41BDB7-DDD5-46F2-AD2B-48CA171E7A7C}" presName="dstNode" presStyleLbl="node1" presStyleIdx="0" presStyleCnt="3"/>
      <dgm:spPr/>
    </dgm:pt>
    <dgm:pt modelId="{8DB0A41B-13B6-4D41-BA9A-B866E3467B52}" type="pres">
      <dgm:prSet presAssocID="{1C2E625B-8056-4952-B1A8-959E50D6104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F8486-D392-432F-9C27-2481C17B75B5}" type="pres">
      <dgm:prSet presAssocID="{1C2E625B-8056-4952-B1A8-959E50D6104B}" presName="accent_1" presStyleCnt="0"/>
      <dgm:spPr/>
    </dgm:pt>
    <dgm:pt modelId="{2809824C-C96F-4220-97AC-0B8950352ED2}" type="pres">
      <dgm:prSet presAssocID="{1C2E625B-8056-4952-B1A8-959E50D6104B}" presName="accentRepeatNode" presStyleLbl="solidFgAcc1" presStyleIdx="0" presStyleCnt="3"/>
      <dgm:spPr>
        <a:solidFill>
          <a:schemeClr val="bg1">
            <a:lumMod val="85000"/>
          </a:schemeClr>
        </a:solidFill>
      </dgm:spPr>
    </dgm:pt>
    <dgm:pt modelId="{745693F0-6E54-42C8-9E78-3CBC2BAE04A9}" type="pres">
      <dgm:prSet presAssocID="{35F20EE8-B175-46A2-BFC0-CA2DCB50768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175E4-2CAE-4358-BDC8-48AF5B346FEC}" type="pres">
      <dgm:prSet presAssocID="{35F20EE8-B175-46A2-BFC0-CA2DCB507688}" presName="accent_2" presStyleCnt="0"/>
      <dgm:spPr/>
    </dgm:pt>
    <dgm:pt modelId="{690650B8-33BF-4D03-BD7A-B62C3563ECC4}" type="pres">
      <dgm:prSet presAssocID="{35F20EE8-B175-46A2-BFC0-CA2DCB507688}" presName="accentRepeatNode" presStyleLbl="solidFgAcc1" presStyleIdx="1" presStyleCnt="3" custLinFactNeighborX="3676" custLinFactNeighborY="-4615"/>
      <dgm:spPr>
        <a:solidFill>
          <a:schemeClr val="bg1">
            <a:lumMod val="85000"/>
          </a:schemeClr>
        </a:solidFill>
      </dgm:spPr>
    </dgm:pt>
    <dgm:pt modelId="{ADD0751A-AC2C-4901-961C-CF485729D4DA}" type="pres">
      <dgm:prSet presAssocID="{053765BC-405D-4979-B88A-18DB4AE80B80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0AE2F2-B615-49B6-A723-3F73F10A962E}" type="pres">
      <dgm:prSet presAssocID="{053765BC-405D-4979-B88A-18DB4AE80B80}" presName="accent_3" presStyleCnt="0"/>
      <dgm:spPr/>
    </dgm:pt>
    <dgm:pt modelId="{2CD20459-9E8D-4304-80AF-1C42F5DF85D8}" type="pres">
      <dgm:prSet presAssocID="{053765BC-405D-4979-B88A-18DB4AE80B80}" presName="accentRepeatNode" presStyleLbl="solidFgAcc1" presStyleIdx="2" presStyleCnt="3" custLinFactNeighborX="11239" custLinFactNeighborY="-3333"/>
      <dgm:spPr>
        <a:solidFill>
          <a:schemeClr val="bg1">
            <a:lumMod val="85000"/>
          </a:schemeClr>
        </a:solidFill>
      </dgm:spPr>
    </dgm:pt>
  </dgm:ptLst>
  <dgm:cxnLst>
    <dgm:cxn modelId="{554B7E4E-94EE-423A-A82F-40CFFC5400EC}" type="presOf" srcId="{053765BC-405D-4979-B88A-18DB4AE80B80}" destId="{ADD0751A-AC2C-4901-961C-CF485729D4DA}" srcOrd="0" destOrd="0" presId="urn:microsoft.com/office/officeart/2008/layout/VerticalCurvedList"/>
    <dgm:cxn modelId="{C7301573-4EA1-40D3-A169-C61C3260816B}" type="presOf" srcId="{EF41BDB7-DDD5-46F2-AD2B-48CA171E7A7C}" destId="{45E6618D-16D5-419B-AB8B-89C0F3442A2B}" srcOrd="0" destOrd="0" presId="urn:microsoft.com/office/officeart/2008/layout/VerticalCurvedList"/>
    <dgm:cxn modelId="{B6DAFE77-CC4F-4E92-B478-E13C082E4F65}" srcId="{EF41BDB7-DDD5-46F2-AD2B-48CA171E7A7C}" destId="{35F20EE8-B175-46A2-BFC0-CA2DCB507688}" srcOrd="1" destOrd="0" parTransId="{346F7BE8-E35F-46F6-9F96-B6B65AEE6D30}" sibTransId="{1C6E5E62-27F0-448C-B96B-1ABBB9EEEDA9}"/>
    <dgm:cxn modelId="{ED8895A5-3EBE-411F-A056-B941127B864E}" type="presOf" srcId="{1C2E625B-8056-4952-B1A8-959E50D6104B}" destId="{8DB0A41B-13B6-4D41-BA9A-B866E3467B52}" srcOrd="0" destOrd="0" presId="urn:microsoft.com/office/officeart/2008/layout/VerticalCurvedList"/>
    <dgm:cxn modelId="{6788A926-90BC-4EA2-B3A3-D8A30B1DA7F7}" type="presOf" srcId="{35F20EE8-B175-46A2-BFC0-CA2DCB507688}" destId="{745693F0-6E54-42C8-9E78-3CBC2BAE04A9}" srcOrd="0" destOrd="0" presId="urn:microsoft.com/office/officeart/2008/layout/VerticalCurvedList"/>
    <dgm:cxn modelId="{0F7DA718-71B0-41D2-A8DB-2051D72AF9C8}" srcId="{EF41BDB7-DDD5-46F2-AD2B-48CA171E7A7C}" destId="{1C2E625B-8056-4952-B1A8-959E50D6104B}" srcOrd="0" destOrd="0" parTransId="{869394DB-5986-4D0B-8ADF-1F9F1155B53B}" sibTransId="{85AF09DD-28EF-4A64-86D1-DA87CD35DBFF}"/>
    <dgm:cxn modelId="{C0320783-7DD6-426D-9498-168BD3F9F09C}" srcId="{EF41BDB7-DDD5-46F2-AD2B-48CA171E7A7C}" destId="{053765BC-405D-4979-B88A-18DB4AE80B80}" srcOrd="2" destOrd="0" parTransId="{208A7F44-3194-4B07-B213-066715517BD4}" sibTransId="{7E182C90-7099-41E3-A2D8-B321940382A7}"/>
    <dgm:cxn modelId="{2F8D10E6-5FD8-491B-8CF8-E8C9A3E384A1}" type="presOf" srcId="{85AF09DD-28EF-4A64-86D1-DA87CD35DBFF}" destId="{D104D0C0-65BE-4ECE-931E-77C13A99999C}" srcOrd="0" destOrd="0" presId="urn:microsoft.com/office/officeart/2008/layout/VerticalCurvedList"/>
    <dgm:cxn modelId="{C289030A-9D7E-4515-B4F2-7FDFF6CD006E}" type="presParOf" srcId="{45E6618D-16D5-419B-AB8B-89C0F3442A2B}" destId="{1EFE397B-9D03-4B34-8813-7FF29FE9CECF}" srcOrd="0" destOrd="0" presId="urn:microsoft.com/office/officeart/2008/layout/VerticalCurvedList"/>
    <dgm:cxn modelId="{ABB93D53-CD40-4D22-80CC-3639573F9B93}" type="presParOf" srcId="{1EFE397B-9D03-4B34-8813-7FF29FE9CECF}" destId="{88ADA31A-CBC6-4D57-A0D4-76FBD4E311F5}" srcOrd="0" destOrd="0" presId="urn:microsoft.com/office/officeart/2008/layout/VerticalCurvedList"/>
    <dgm:cxn modelId="{867E384B-1937-4005-986B-CAC7A7FE61F1}" type="presParOf" srcId="{88ADA31A-CBC6-4D57-A0D4-76FBD4E311F5}" destId="{25A0D326-7C81-413D-B592-8F0C87A23782}" srcOrd="0" destOrd="0" presId="urn:microsoft.com/office/officeart/2008/layout/VerticalCurvedList"/>
    <dgm:cxn modelId="{3CD78CE9-C06B-4C85-9A55-97D7F5F35218}" type="presParOf" srcId="{88ADA31A-CBC6-4D57-A0D4-76FBD4E311F5}" destId="{D104D0C0-65BE-4ECE-931E-77C13A99999C}" srcOrd="1" destOrd="0" presId="urn:microsoft.com/office/officeart/2008/layout/VerticalCurvedList"/>
    <dgm:cxn modelId="{CB7CFA32-A9BF-463F-8108-98C8617C1B73}" type="presParOf" srcId="{88ADA31A-CBC6-4D57-A0D4-76FBD4E311F5}" destId="{22F7BD8A-7541-46CF-920D-66A136EE55E7}" srcOrd="2" destOrd="0" presId="urn:microsoft.com/office/officeart/2008/layout/VerticalCurvedList"/>
    <dgm:cxn modelId="{F53FF873-228A-49A9-81CF-1BBB335092A1}" type="presParOf" srcId="{88ADA31A-CBC6-4D57-A0D4-76FBD4E311F5}" destId="{9A51BBDC-C5DD-4770-8AE1-B678AE18917C}" srcOrd="3" destOrd="0" presId="urn:microsoft.com/office/officeart/2008/layout/VerticalCurvedList"/>
    <dgm:cxn modelId="{2894BD1C-3A6B-4B06-A111-2DCA94DD6352}" type="presParOf" srcId="{1EFE397B-9D03-4B34-8813-7FF29FE9CECF}" destId="{8DB0A41B-13B6-4D41-BA9A-B866E3467B52}" srcOrd="1" destOrd="0" presId="urn:microsoft.com/office/officeart/2008/layout/VerticalCurvedList"/>
    <dgm:cxn modelId="{B2D9DB80-A207-4BCA-8B13-01CF0FB69485}" type="presParOf" srcId="{1EFE397B-9D03-4B34-8813-7FF29FE9CECF}" destId="{2DEF8486-D392-432F-9C27-2481C17B75B5}" srcOrd="2" destOrd="0" presId="urn:microsoft.com/office/officeart/2008/layout/VerticalCurvedList"/>
    <dgm:cxn modelId="{133C0BAA-AADB-45A8-BD64-0BB36958DC28}" type="presParOf" srcId="{2DEF8486-D392-432F-9C27-2481C17B75B5}" destId="{2809824C-C96F-4220-97AC-0B8950352ED2}" srcOrd="0" destOrd="0" presId="urn:microsoft.com/office/officeart/2008/layout/VerticalCurvedList"/>
    <dgm:cxn modelId="{B3FDDE39-9B7A-4E05-8D35-C54E71A3EF38}" type="presParOf" srcId="{1EFE397B-9D03-4B34-8813-7FF29FE9CECF}" destId="{745693F0-6E54-42C8-9E78-3CBC2BAE04A9}" srcOrd="3" destOrd="0" presId="urn:microsoft.com/office/officeart/2008/layout/VerticalCurvedList"/>
    <dgm:cxn modelId="{E5641FCA-F950-4CA1-B3DD-ED14BD08ECEF}" type="presParOf" srcId="{1EFE397B-9D03-4B34-8813-7FF29FE9CECF}" destId="{FFC175E4-2CAE-4358-BDC8-48AF5B346FEC}" srcOrd="4" destOrd="0" presId="urn:microsoft.com/office/officeart/2008/layout/VerticalCurvedList"/>
    <dgm:cxn modelId="{C7F0B5F7-B51E-451E-BE3F-3BB2BF12BDDE}" type="presParOf" srcId="{FFC175E4-2CAE-4358-BDC8-48AF5B346FEC}" destId="{690650B8-33BF-4D03-BD7A-B62C3563ECC4}" srcOrd="0" destOrd="0" presId="urn:microsoft.com/office/officeart/2008/layout/VerticalCurvedList"/>
    <dgm:cxn modelId="{C4068057-CA19-428F-8C4B-FD62F05128A6}" type="presParOf" srcId="{1EFE397B-9D03-4B34-8813-7FF29FE9CECF}" destId="{ADD0751A-AC2C-4901-961C-CF485729D4DA}" srcOrd="5" destOrd="0" presId="urn:microsoft.com/office/officeart/2008/layout/VerticalCurvedList"/>
    <dgm:cxn modelId="{1C20E756-1D7E-4AA7-9F4D-53EA3E99612B}" type="presParOf" srcId="{1EFE397B-9D03-4B34-8813-7FF29FE9CECF}" destId="{590AE2F2-B615-49B6-A723-3F73F10A962E}" srcOrd="6" destOrd="0" presId="urn:microsoft.com/office/officeart/2008/layout/VerticalCurvedList"/>
    <dgm:cxn modelId="{84C0E7CF-FA83-4980-A6D4-DE7834AD3C79}" type="presParOf" srcId="{590AE2F2-B615-49B6-A723-3F73F10A962E}" destId="{2CD20459-9E8D-4304-80AF-1C42F5DF85D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7261DAB-CFDF-44F2-8744-4050D5F521E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22ADEBB-503E-486B-A406-EC417B576112}">
      <dgm:prSet custT="1"/>
      <dgm:spPr/>
      <dgm:t>
        <a:bodyPr/>
        <a:lstStyle/>
        <a:p>
          <a:pPr rtl="0"/>
          <a:r>
            <a: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Flat file based database management system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E88F17-11F1-42DE-926B-A75302296221}" type="parTrans" cxnId="{520ECD11-0867-4483-B49A-DC5A58E16437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A4B5FF4-35F9-473B-96B7-E49E6DA282DB}" type="sibTrans" cxnId="{520ECD11-0867-4483-B49A-DC5A58E16437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E5A1F82-D754-498B-A9D1-ABC99C13265F}" type="pres">
      <dgm:prSet presAssocID="{E7261DAB-CFDF-44F2-8744-4050D5F521E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A947C43-33ED-4FAD-A699-B587B8257B30}" type="pres">
      <dgm:prSet presAssocID="{F22ADEBB-503E-486B-A406-EC417B57611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0ECD11-0867-4483-B49A-DC5A58E16437}" srcId="{E7261DAB-CFDF-44F2-8744-4050D5F521ED}" destId="{F22ADEBB-503E-486B-A406-EC417B576112}" srcOrd="0" destOrd="0" parTransId="{D0E88F17-11F1-42DE-926B-A75302296221}" sibTransId="{1A4B5FF4-35F9-473B-96B7-E49E6DA282DB}"/>
    <dgm:cxn modelId="{1D1231A9-1277-4992-8539-52C4F54B6A27}" type="presOf" srcId="{F22ADEBB-503E-486B-A406-EC417B576112}" destId="{3A947C43-33ED-4FAD-A699-B587B8257B30}" srcOrd="0" destOrd="0" presId="urn:microsoft.com/office/officeart/2005/8/layout/vList2"/>
    <dgm:cxn modelId="{AD97D55D-4135-4081-AB60-7EE88D4498FB}" type="presOf" srcId="{E7261DAB-CFDF-44F2-8744-4050D5F521ED}" destId="{7E5A1F82-D754-498B-A9D1-ABC99C13265F}" srcOrd="0" destOrd="0" presId="urn:microsoft.com/office/officeart/2005/8/layout/vList2"/>
    <dgm:cxn modelId="{9890DE18-518B-4F52-BF3C-6B18DE7C3AF2}" type="presParOf" srcId="{7E5A1F82-D754-498B-A9D1-ABC99C13265F}" destId="{3A947C43-33ED-4FAD-A699-B587B8257B3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A6ABC09-CC00-44EE-9803-046DF5A959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7D5D167-5C47-4E47-9A9E-41218E52ACCF}">
      <dgm:prSet custT="1"/>
      <dgm:spPr/>
      <dgm:t>
        <a:bodyPr/>
        <a:lstStyle/>
        <a:p>
          <a:pPr rtl="0"/>
          <a:r>
            <a: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ierarchical database management system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3393185-88D8-4014-A4C9-CA24F370DEDB}" type="parTrans" cxnId="{9EFFDCF3-57F2-4712-8F4D-A698EA28CD5C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1F0E398-C4A1-463F-8791-5566EA624F68}" type="sibTrans" cxnId="{9EFFDCF3-57F2-4712-8F4D-A698EA28CD5C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E67288C-FE30-4ADC-A197-B16219026635}" type="pres">
      <dgm:prSet presAssocID="{3A6ABC09-CC00-44EE-9803-046DF5A959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F07ACC1-270D-4385-AEEF-FDA861B7A845}" type="pres">
      <dgm:prSet presAssocID="{47D5D167-5C47-4E47-9A9E-41218E52ACCF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4CE6F2-29C1-4ACE-B507-D3716B61F582}" type="presOf" srcId="{47D5D167-5C47-4E47-9A9E-41218E52ACCF}" destId="{FF07ACC1-270D-4385-AEEF-FDA861B7A845}" srcOrd="0" destOrd="0" presId="urn:microsoft.com/office/officeart/2005/8/layout/vList2"/>
    <dgm:cxn modelId="{20D242F0-1C1E-49CA-9559-FB05CDE2709B}" type="presOf" srcId="{3A6ABC09-CC00-44EE-9803-046DF5A95958}" destId="{3E67288C-FE30-4ADC-A197-B16219026635}" srcOrd="0" destOrd="0" presId="urn:microsoft.com/office/officeart/2005/8/layout/vList2"/>
    <dgm:cxn modelId="{9EFFDCF3-57F2-4712-8F4D-A698EA28CD5C}" srcId="{3A6ABC09-CC00-44EE-9803-046DF5A95958}" destId="{47D5D167-5C47-4E47-9A9E-41218E52ACCF}" srcOrd="0" destOrd="0" parTransId="{03393185-88D8-4014-A4C9-CA24F370DEDB}" sibTransId="{11F0E398-C4A1-463F-8791-5566EA624F68}"/>
    <dgm:cxn modelId="{A3F408DA-8F91-461F-8B5B-58DE96A06C4A}" type="presParOf" srcId="{3E67288C-FE30-4ADC-A197-B16219026635}" destId="{FF07ACC1-270D-4385-AEEF-FDA861B7A84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CFFA45A-C5CE-444E-944D-B0CE6AB2B5D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217C0EB-9306-42DE-B345-B6778F440173}">
      <dgm:prSet custT="1"/>
      <dgm:spPr/>
      <dgm:t>
        <a:bodyPr/>
        <a:lstStyle/>
        <a:p>
          <a:pPr rtl="0"/>
          <a:r>
            <a: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Network database management system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77904F5-9FD2-495C-B8BA-D8E60A664D99}" type="parTrans" cxnId="{8B6E6C9D-BEE2-4939-AA88-076B35BBCC73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F449A45-EB12-4D74-9EDF-E20D1387C58B}" type="sibTrans" cxnId="{8B6E6C9D-BEE2-4939-AA88-076B35BBCC73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DACEF2B-E4D3-43C5-9D7A-2FB735072280}" type="pres">
      <dgm:prSet presAssocID="{6CFFA45A-C5CE-444E-944D-B0CE6AB2B5D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AB1CEB-B4F6-4275-8D31-7399E09EB115}" type="pres">
      <dgm:prSet presAssocID="{0217C0EB-9306-42DE-B345-B6778F440173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733CC6F-1D84-424A-A25E-5D6AB0C08EEC}" type="presOf" srcId="{0217C0EB-9306-42DE-B345-B6778F440173}" destId="{61AB1CEB-B4F6-4275-8D31-7399E09EB115}" srcOrd="0" destOrd="0" presId="urn:microsoft.com/office/officeart/2005/8/layout/vList2"/>
    <dgm:cxn modelId="{BD86F98A-603B-45EE-8DA2-FE9388FD601E}" type="presOf" srcId="{6CFFA45A-C5CE-444E-944D-B0CE6AB2B5DC}" destId="{ADACEF2B-E4D3-43C5-9D7A-2FB735072280}" srcOrd="0" destOrd="0" presId="urn:microsoft.com/office/officeart/2005/8/layout/vList2"/>
    <dgm:cxn modelId="{8B6E6C9D-BEE2-4939-AA88-076B35BBCC73}" srcId="{6CFFA45A-C5CE-444E-944D-B0CE6AB2B5DC}" destId="{0217C0EB-9306-42DE-B345-B6778F440173}" srcOrd="0" destOrd="0" parTransId="{077904F5-9FD2-495C-B8BA-D8E60A664D99}" sibTransId="{AF449A45-EB12-4D74-9EDF-E20D1387C58B}"/>
    <dgm:cxn modelId="{2FEF7959-A813-45EC-870A-0F9C8DAA7C62}" type="presParOf" srcId="{ADACEF2B-E4D3-43C5-9D7A-2FB735072280}" destId="{61AB1CEB-B4F6-4275-8D31-7399E09EB11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91EA7C5-EEE0-4098-8779-7256F04A34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4B0B150-2B28-48E4-8A63-D9D7031FB667}">
      <dgm:prSet custT="1"/>
      <dgm:spPr/>
      <dgm:t>
        <a:bodyPr/>
        <a:lstStyle/>
        <a:p>
          <a:pPr rtl="0"/>
          <a:r>
            <a: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Object oriented database management system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F6FB5C5-B4FF-4F1C-B110-284D406A83FA}" type="parTrans" cxnId="{1F1D6E43-0B99-4A25-96C0-59E18EF2A323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09658F5-202C-42E2-B244-84B666540B6B}" type="sibTrans" cxnId="{1F1D6E43-0B99-4A25-96C0-59E18EF2A323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6930E7-C2DA-4391-9C21-78D4B4A402AA}" type="pres">
      <dgm:prSet presAssocID="{891EA7C5-EEE0-4098-8779-7256F04A34D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621784B-069A-4A22-84A9-3BB43E1CBB1A}" type="pres">
      <dgm:prSet presAssocID="{14B0B150-2B28-48E4-8A63-D9D7031FB667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F1D6E43-0B99-4A25-96C0-59E18EF2A323}" srcId="{891EA7C5-EEE0-4098-8779-7256F04A34D7}" destId="{14B0B150-2B28-48E4-8A63-D9D7031FB667}" srcOrd="0" destOrd="0" parTransId="{AF6FB5C5-B4FF-4F1C-B110-284D406A83FA}" sibTransId="{409658F5-202C-42E2-B244-84B666540B6B}"/>
    <dgm:cxn modelId="{2AE469C2-23F2-40AE-8B32-7CA6160591B5}" type="presOf" srcId="{14B0B150-2B28-48E4-8A63-D9D7031FB667}" destId="{1621784B-069A-4A22-84A9-3BB43E1CBB1A}" srcOrd="0" destOrd="0" presId="urn:microsoft.com/office/officeart/2005/8/layout/vList2"/>
    <dgm:cxn modelId="{F0A80712-BAAF-49C5-81B9-388B25D12A34}" type="presOf" srcId="{891EA7C5-EEE0-4098-8779-7256F04A34D7}" destId="{276930E7-C2DA-4391-9C21-78D4B4A402AA}" srcOrd="0" destOrd="0" presId="urn:microsoft.com/office/officeart/2005/8/layout/vList2"/>
    <dgm:cxn modelId="{57837F20-38B5-4601-B3F1-2E9C21992377}" type="presParOf" srcId="{276930E7-C2DA-4391-9C21-78D4B4A402AA}" destId="{1621784B-069A-4A22-84A9-3BB43E1CBB1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4E04ACC-36BE-4044-9D57-386763EECD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201D69A-3A23-4C63-B59F-74DDC39E8A8D}">
      <dgm:prSet custT="1"/>
      <dgm:spPr/>
      <dgm:t>
        <a:bodyPr/>
        <a:lstStyle/>
        <a:p>
          <a:pPr rtl="0"/>
          <a:r>
            <a: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lational database management system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D45BA16-1D19-4B2A-ABD3-CB868C424E4E}" type="parTrans" cxnId="{D2C82EF8-20B8-4A48-8884-0E223BAEAFEE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B8E848A-2041-4360-97B2-0E1AF0BEEE6D}" type="sibTrans" cxnId="{D2C82EF8-20B8-4A48-8884-0E223BAEAFEE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9E7C00C-0C20-406A-84A3-AECA489B066B}" type="pres">
      <dgm:prSet presAssocID="{D4E04ACC-36BE-4044-9D57-386763EECD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BE58174-EEBB-4C39-A14C-E90F314FD54C}" type="pres">
      <dgm:prSet presAssocID="{6201D69A-3A23-4C63-B59F-74DDC39E8A8D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F0BBA5-85FF-45A1-A260-FA12BF3BB661}" type="presOf" srcId="{6201D69A-3A23-4C63-B59F-74DDC39E8A8D}" destId="{CBE58174-EEBB-4C39-A14C-E90F314FD54C}" srcOrd="0" destOrd="0" presId="urn:microsoft.com/office/officeart/2005/8/layout/vList2"/>
    <dgm:cxn modelId="{D2C82EF8-20B8-4A48-8884-0E223BAEAFEE}" srcId="{D4E04ACC-36BE-4044-9D57-386763EECD53}" destId="{6201D69A-3A23-4C63-B59F-74DDC39E8A8D}" srcOrd="0" destOrd="0" parTransId="{8D45BA16-1D19-4B2A-ABD3-CB868C424E4E}" sibTransId="{5B8E848A-2041-4360-97B2-0E1AF0BEEE6D}"/>
    <dgm:cxn modelId="{E45A8192-C88D-43AA-BB41-BAE9A4092D4B}" type="presOf" srcId="{D4E04ACC-36BE-4044-9D57-386763EECD53}" destId="{79E7C00C-0C20-406A-84A3-AECA489B066B}" srcOrd="0" destOrd="0" presId="urn:microsoft.com/office/officeart/2005/8/layout/vList2"/>
    <dgm:cxn modelId="{77EE160C-902D-4221-9B25-D1FE2FC6D5D9}" type="presParOf" srcId="{79E7C00C-0C20-406A-84A3-AECA489B066B}" destId="{CBE58174-EEBB-4C39-A14C-E90F314FD54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85FAB-08E8-4433-97CB-3DACD2EB519D}">
      <dsp:nvSpPr>
        <dsp:cNvPr id="0" name=""/>
        <dsp:cNvSpPr/>
      </dsp:nvSpPr>
      <dsp:spPr>
        <a:xfrm>
          <a:off x="2350836" y="1591799"/>
          <a:ext cx="1105283" cy="12301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Linux</a:t>
          </a:r>
          <a:endParaRPr lang="en-US" sz="2000" kern="1200" dirty="0"/>
        </a:p>
      </dsp:txBody>
      <dsp:txXfrm>
        <a:off x="2512701" y="1771944"/>
        <a:ext cx="781553" cy="869820"/>
      </dsp:txXfrm>
    </dsp:sp>
    <dsp:sp modelId="{60413264-A758-4ED8-9205-058B092C5516}">
      <dsp:nvSpPr>
        <dsp:cNvPr id="0" name=""/>
        <dsp:cNvSpPr/>
      </dsp:nvSpPr>
      <dsp:spPr>
        <a:xfrm rot="16200000">
          <a:off x="2842867" y="1308695"/>
          <a:ext cx="121221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61050" y="1395748"/>
        <a:ext cx="84855" cy="206610"/>
      </dsp:txXfrm>
    </dsp:sp>
    <dsp:sp modelId="{A8B3F084-C609-41DF-B7A5-B3D696D8E9F8}">
      <dsp:nvSpPr>
        <dsp:cNvPr id="0" name=""/>
        <dsp:cNvSpPr/>
      </dsp:nvSpPr>
      <dsp:spPr>
        <a:xfrm>
          <a:off x="2100268" y="-42552"/>
          <a:ext cx="1606419" cy="140563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OS Services</a:t>
          </a:r>
          <a:endParaRPr lang="en-US" sz="1500" kern="1200" dirty="0"/>
        </a:p>
      </dsp:txBody>
      <dsp:txXfrm>
        <a:off x="2335523" y="163298"/>
        <a:ext cx="1135909" cy="993932"/>
      </dsp:txXfrm>
    </dsp:sp>
    <dsp:sp modelId="{5FD6C9F3-8D91-4C6C-A11D-3D346290ACE1}">
      <dsp:nvSpPr>
        <dsp:cNvPr id="0" name=""/>
        <dsp:cNvSpPr/>
      </dsp:nvSpPr>
      <dsp:spPr>
        <a:xfrm rot="32373">
          <a:off x="3562829" y="2042100"/>
          <a:ext cx="25714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562831" y="2110607"/>
        <a:ext cx="180003" cy="206610"/>
      </dsp:txXfrm>
    </dsp:sp>
    <dsp:sp modelId="{1C81B57A-A34B-4DC2-BF49-77828593C166}">
      <dsp:nvSpPr>
        <dsp:cNvPr id="0" name=""/>
        <dsp:cNvSpPr/>
      </dsp:nvSpPr>
      <dsp:spPr>
        <a:xfrm>
          <a:off x="3941214" y="1455886"/>
          <a:ext cx="1715611" cy="1537637"/>
        </a:xfrm>
        <a:prstGeom prst="ellipse">
          <a:avLst/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USER Application</a:t>
          </a:r>
          <a:endParaRPr lang="en-US" sz="1500" kern="1200" dirty="0"/>
        </a:p>
      </dsp:txBody>
      <dsp:txXfrm>
        <a:off x="4192459" y="1681068"/>
        <a:ext cx="1213121" cy="1087273"/>
      </dsp:txXfrm>
    </dsp:sp>
    <dsp:sp modelId="{97BE43BE-98E9-4AE5-A36E-C4F98A061C56}">
      <dsp:nvSpPr>
        <dsp:cNvPr id="0" name=""/>
        <dsp:cNvSpPr/>
      </dsp:nvSpPr>
      <dsp:spPr>
        <a:xfrm rot="5316793">
          <a:off x="2855033" y="2770751"/>
          <a:ext cx="13252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74431" y="2819748"/>
        <a:ext cx="92769" cy="206610"/>
      </dsp:txXfrm>
    </dsp:sp>
    <dsp:sp modelId="{6D790799-C1A6-4912-A471-85393B0ED93D}">
      <dsp:nvSpPr>
        <dsp:cNvPr id="0" name=""/>
        <dsp:cNvSpPr/>
      </dsp:nvSpPr>
      <dsp:spPr>
        <a:xfrm>
          <a:off x="2177689" y="3071506"/>
          <a:ext cx="1526459" cy="1363880"/>
        </a:xfrm>
        <a:prstGeom prst="ellipse">
          <a:avLst/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Linux Kernel </a:t>
          </a:r>
          <a:endParaRPr lang="en-US" sz="1500" kern="1200" dirty="0"/>
        </a:p>
      </dsp:txBody>
      <dsp:txXfrm>
        <a:off x="2401234" y="3271242"/>
        <a:ext cx="1079369" cy="964408"/>
      </dsp:txXfrm>
    </dsp:sp>
    <dsp:sp modelId="{8A15B3A4-12E2-481B-BE90-498DFD692BAD}">
      <dsp:nvSpPr>
        <dsp:cNvPr id="0" name=""/>
        <dsp:cNvSpPr/>
      </dsp:nvSpPr>
      <dsp:spPr>
        <a:xfrm rot="10765899">
          <a:off x="2093140" y="2041815"/>
          <a:ext cx="182126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10800000">
        <a:off x="2147777" y="2110414"/>
        <a:ext cx="127488" cy="206610"/>
      </dsp:txXfrm>
    </dsp:sp>
    <dsp:sp modelId="{9325D8EB-F374-45FF-B488-BDF1EC5AC75D}">
      <dsp:nvSpPr>
        <dsp:cNvPr id="0" name=""/>
        <dsp:cNvSpPr/>
      </dsp:nvSpPr>
      <dsp:spPr>
        <a:xfrm>
          <a:off x="199057" y="1455894"/>
          <a:ext cx="1808244" cy="1537637"/>
        </a:xfrm>
        <a:prstGeom prst="ellipse">
          <a:avLst/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Hardware Controller</a:t>
          </a:r>
          <a:endParaRPr lang="en-US" sz="1500" kern="1200" dirty="0"/>
        </a:p>
      </dsp:txBody>
      <dsp:txXfrm>
        <a:off x="463868" y="1681076"/>
        <a:ext cx="1278622" cy="108727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7A8635-CE56-47EF-B490-D5DDB7A2249C}">
      <dsp:nvSpPr>
        <dsp:cNvPr id="0" name=""/>
        <dsp:cNvSpPr/>
      </dsp:nvSpPr>
      <dsp:spPr>
        <a:xfrm>
          <a:off x="0" y="0"/>
          <a:ext cx="396044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tegrity problem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27"/>
        <a:ext cx="3924386" cy="33322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4C9F8A-FD67-4728-AAC7-E0E2E201E1D3}">
      <dsp:nvSpPr>
        <dsp:cNvPr id="0" name=""/>
        <dsp:cNvSpPr/>
      </dsp:nvSpPr>
      <dsp:spPr>
        <a:xfrm>
          <a:off x="0" y="25"/>
          <a:ext cx="396044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current acces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3924386" cy="33322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D96BD7-958B-4FAE-BA0C-3D56CEBC2C26}">
      <dsp:nvSpPr>
        <dsp:cNvPr id="0" name=""/>
        <dsp:cNvSpPr/>
      </dsp:nvSpPr>
      <dsp:spPr>
        <a:xfrm>
          <a:off x="0" y="0"/>
          <a:ext cx="396044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Data redundancy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27"/>
        <a:ext cx="3924386" cy="33322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104D9C-B9FC-4F67-BF9A-57636F446B3E}">
      <dsp:nvSpPr>
        <dsp:cNvPr id="0" name=""/>
        <dsp:cNvSpPr/>
      </dsp:nvSpPr>
      <dsp:spPr>
        <a:xfrm>
          <a:off x="0" y="0"/>
          <a:ext cx="396044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Data Inconsistency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27"/>
        <a:ext cx="3924386" cy="333227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8C9E7C-7E43-4359-90C4-6D0CC8404608}">
      <dsp:nvSpPr>
        <dsp:cNvPr id="0" name=""/>
        <dsp:cNvSpPr/>
      </dsp:nvSpPr>
      <dsp:spPr>
        <a:xfrm>
          <a:off x="0" y="0"/>
          <a:ext cx="396044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tomicity Problem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27"/>
        <a:ext cx="3924386" cy="33322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0E3D8A-2D37-4455-96E4-CE78290E219E}">
      <dsp:nvSpPr>
        <dsp:cNvPr id="0" name=""/>
        <dsp:cNvSpPr/>
      </dsp:nvSpPr>
      <dsp:spPr>
        <a:xfrm>
          <a:off x="0" y="25"/>
          <a:ext cx="437288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Consistency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336826" cy="33322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84AF36-886F-4F8E-B299-BFFED737A39E}">
      <dsp:nvSpPr>
        <dsp:cNvPr id="0" name=""/>
        <dsp:cNvSpPr/>
      </dsp:nvSpPr>
      <dsp:spPr>
        <a:xfrm>
          <a:off x="0" y="25"/>
          <a:ext cx="4372880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tegrity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336826" cy="33322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0A7E13-5BA6-4137-9B5C-B6A0232509BE}">
      <dsp:nvSpPr>
        <dsp:cNvPr id="0" name=""/>
        <dsp:cNvSpPr/>
      </dsp:nvSpPr>
      <dsp:spPr>
        <a:xfrm>
          <a:off x="0" y="25"/>
          <a:ext cx="4464496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covery service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428442" cy="333227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21CF6D-1A60-48ED-B7EC-51D4CD9995A3}">
      <dsp:nvSpPr>
        <dsp:cNvPr id="0" name=""/>
        <dsp:cNvSpPr/>
      </dsp:nvSpPr>
      <dsp:spPr>
        <a:xfrm>
          <a:off x="0" y="25"/>
          <a:ext cx="4464497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trolling Redundancy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428443" cy="33322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239242-1E93-47C1-95AC-73576CE34002}">
      <dsp:nvSpPr>
        <dsp:cNvPr id="0" name=""/>
        <dsp:cNvSpPr/>
      </dsp:nvSpPr>
      <dsp:spPr>
        <a:xfrm>
          <a:off x="0" y="25"/>
          <a:ext cx="4444888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stricting unauthorized acces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408834" cy="3332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E51143-86F1-4CDB-88E9-6664EC088D2B}">
      <dsp:nvSpPr>
        <dsp:cNvPr id="0" name=""/>
        <dsp:cNvSpPr/>
      </dsp:nvSpPr>
      <dsp:spPr>
        <a:xfrm>
          <a:off x="1712501" y="685"/>
          <a:ext cx="1633883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vice Management</a:t>
          </a:r>
          <a:endParaRPr lang="en-US" sz="1600" kern="1200" dirty="0"/>
        </a:p>
      </dsp:txBody>
      <dsp:txXfrm>
        <a:off x="1731213" y="19397"/>
        <a:ext cx="1596459" cy="601465"/>
      </dsp:txXfrm>
    </dsp:sp>
    <dsp:sp modelId="{4D2E88C2-FD69-4465-8EEB-821CF1B16D5A}">
      <dsp:nvSpPr>
        <dsp:cNvPr id="0" name=""/>
        <dsp:cNvSpPr/>
      </dsp:nvSpPr>
      <dsp:spPr>
        <a:xfrm rot="3600000">
          <a:off x="2464446" y="1106060"/>
          <a:ext cx="1184837" cy="255187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2541002" y="1157097"/>
        <a:ext cx="1031725" cy="153113"/>
      </dsp:txXfrm>
    </dsp:sp>
    <dsp:sp modelId="{65788452-4BE9-49FD-A139-51284C668080}">
      <dsp:nvSpPr>
        <dsp:cNvPr id="0" name=""/>
        <dsp:cNvSpPr/>
      </dsp:nvSpPr>
      <dsp:spPr>
        <a:xfrm>
          <a:off x="2945399" y="1827732"/>
          <a:ext cx="1277779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lock Device</a:t>
          </a:r>
          <a:endParaRPr lang="en-US" sz="1600" kern="1200" dirty="0"/>
        </a:p>
      </dsp:txBody>
      <dsp:txXfrm>
        <a:off x="2964111" y="1846444"/>
        <a:ext cx="1240355" cy="601465"/>
      </dsp:txXfrm>
    </dsp:sp>
    <dsp:sp modelId="{10F24591-C92F-4D28-BB99-E3D217AE926C}">
      <dsp:nvSpPr>
        <dsp:cNvPr id="0" name=""/>
        <dsp:cNvSpPr/>
      </dsp:nvSpPr>
      <dsp:spPr>
        <a:xfrm rot="10800000">
          <a:off x="2444002" y="2035371"/>
          <a:ext cx="445685" cy="223611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511085" y="2080093"/>
        <a:ext cx="311519" cy="134167"/>
      </dsp:txXfrm>
    </dsp:sp>
    <dsp:sp modelId="{AAEE297A-253E-409B-8C98-AF40FA47262A}">
      <dsp:nvSpPr>
        <dsp:cNvPr id="0" name=""/>
        <dsp:cNvSpPr/>
      </dsp:nvSpPr>
      <dsp:spPr>
        <a:xfrm>
          <a:off x="560901" y="1827732"/>
          <a:ext cx="1827390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racter Device </a:t>
          </a:r>
          <a:endParaRPr lang="en-US" sz="1600" kern="1200" dirty="0"/>
        </a:p>
      </dsp:txBody>
      <dsp:txXfrm>
        <a:off x="579613" y="1846444"/>
        <a:ext cx="1789966" cy="601465"/>
      </dsp:txXfrm>
    </dsp:sp>
    <dsp:sp modelId="{CB033CE0-6666-4782-B805-6F90415335CB}">
      <dsp:nvSpPr>
        <dsp:cNvPr id="0" name=""/>
        <dsp:cNvSpPr/>
      </dsp:nvSpPr>
      <dsp:spPr>
        <a:xfrm rot="18000000">
          <a:off x="1430445" y="1129883"/>
          <a:ext cx="1143148" cy="20754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492707" y="1171391"/>
        <a:ext cx="1018624" cy="12452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46686E-58E5-4CDE-8C41-DCE6262D1FB9}">
      <dsp:nvSpPr>
        <dsp:cNvPr id="0" name=""/>
        <dsp:cNvSpPr/>
      </dsp:nvSpPr>
      <dsp:spPr>
        <a:xfrm>
          <a:off x="0" y="25"/>
          <a:ext cx="4444888" cy="3692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oncurrency Control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4408834" cy="333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9F5EE1-100B-4010-8E81-F884437A4C53}">
      <dsp:nvSpPr>
        <dsp:cNvPr id="0" name=""/>
        <dsp:cNvSpPr/>
      </dsp:nvSpPr>
      <dsp:spPr>
        <a:xfrm>
          <a:off x="887048" y="926080"/>
          <a:ext cx="818190" cy="8181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mory Management </a:t>
          </a:r>
          <a:endParaRPr lang="en-US" sz="1100" kern="1200" dirty="0"/>
        </a:p>
      </dsp:txBody>
      <dsp:txXfrm>
        <a:off x="1006869" y="1045901"/>
        <a:ext cx="578548" cy="578548"/>
      </dsp:txXfrm>
    </dsp:sp>
    <dsp:sp modelId="{34B55A89-74DA-4109-A603-93E27CD2EF30}">
      <dsp:nvSpPr>
        <dsp:cNvPr id="0" name=""/>
        <dsp:cNvSpPr/>
      </dsp:nvSpPr>
      <dsp:spPr>
        <a:xfrm rot="12900000">
          <a:off x="329206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F88E63-24BE-4528-8F35-301BBF075C44}">
      <dsp:nvSpPr>
        <dsp:cNvPr id="0" name=""/>
        <dsp:cNvSpPr/>
      </dsp:nvSpPr>
      <dsp:spPr>
        <a:xfrm>
          <a:off x="249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uddy System</a:t>
          </a:r>
          <a:endParaRPr lang="en-US" sz="1400" kern="1200" dirty="0"/>
        </a:p>
      </dsp:txBody>
      <dsp:txXfrm>
        <a:off x="18462" y="407210"/>
        <a:ext cx="740855" cy="585399"/>
      </dsp:txXfrm>
    </dsp:sp>
    <dsp:sp modelId="{11657F35-32BD-4DA9-A6D4-4EACECE3F9AC}">
      <dsp:nvSpPr>
        <dsp:cNvPr id="0" name=""/>
        <dsp:cNvSpPr/>
      </dsp:nvSpPr>
      <dsp:spPr>
        <a:xfrm rot="19500000">
          <a:off x="1603039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6307FB-E60E-40B4-B22B-D715E3BD6A5B}">
      <dsp:nvSpPr>
        <dsp:cNvPr id="0" name=""/>
        <dsp:cNvSpPr/>
      </dsp:nvSpPr>
      <dsp:spPr>
        <a:xfrm>
          <a:off x="1814757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RU</a:t>
          </a:r>
          <a:endParaRPr lang="en-US" sz="1400" kern="1200" dirty="0"/>
        </a:p>
      </dsp:txBody>
      <dsp:txXfrm>
        <a:off x="1832970" y="407210"/>
        <a:ext cx="740855" cy="5853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04D0C0-65BE-4ECE-931E-77C13A99999C}">
      <dsp:nvSpPr>
        <dsp:cNvPr id="0" name=""/>
        <dsp:cNvSpPr/>
      </dsp:nvSpPr>
      <dsp:spPr>
        <a:xfrm>
          <a:off x="-2929267" y="-451273"/>
          <a:ext cx="3494835" cy="3494835"/>
        </a:xfrm>
        <a:prstGeom prst="blockArc">
          <a:avLst>
            <a:gd name="adj1" fmla="val 18900000"/>
            <a:gd name="adj2" fmla="val 2700000"/>
            <a:gd name="adj3" fmla="val 61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0A41B-13B6-4D41-BA9A-B866E3467B52}">
      <dsp:nvSpPr>
        <dsp:cNvPr id="0" name=""/>
        <dsp:cNvSpPr/>
      </dsp:nvSpPr>
      <dsp:spPr>
        <a:xfrm>
          <a:off x="363640" y="259228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PRESENTATION LAYER</a:t>
          </a:r>
          <a:endParaRPr lang="en-US" sz="2400" kern="12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63640" y="259228"/>
        <a:ext cx="4896863" cy="518457"/>
      </dsp:txXfrm>
    </dsp:sp>
    <dsp:sp modelId="{2809824C-C96F-4220-97AC-0B8950352ED2}">
      <dsp:nvSpPr>
        <dsp:cNvPr id="0" name=""/>
        <dsp:cNvSpPr/>
      </dsp:nvSpPr>
      <dsp:spPr>
        <a:xfrm>
          <a:off x="39604" y="194421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693F0-6E54-42C8-9E78-3CBC2BAE04A9}">
      <dsp:nvSpPr>
        <dsp:cNvPr id="0" name=""/>
        <dsp:cNvSpPr/>
      </dsp:nvSpPr>
      <dsp:spPr>
        <a:xfrm>
          <a:off x="552100" y="1036915"/>
          <a:ext cx="4708404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USINESS LOGIC LAYER</a:t>
          </a:r>
          <a:endParaRPr lang="en-US" sz="2400" kern="12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52100" y="1036915"/>
        <a:ext cx="4708404" cy="518457"/>
      </dsp:txXfrm>
    </dsp:sp>
    <dsp:sp modelId="{690650B8-33BF-4D03-BD7A-B62C3563ECC4}">
      <dsp:nvSpPr>
        <dsp:cNvPr id="0" name=""/>
        <dsp:cNvSpPr/>
      </dsp:nvSpPr>
      <dsp:spPr>
        <a:xfrm>
          <a:off x="251887" y="942199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D0751A-AC2C-4901-961C-CF485729D4DA}">
      <dsp:nvSpPr>
        <dsp:cNvPr id="0" name=""/>
        <dsp:cNvSpPr/>
      </dsp:nvSpPr>
      <dsp:spPr>
        <a:xfrm>
          <a:off x="363640" y="1814601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ATA ACCESS LAYER</a:t>
          </a:r>
          <a:endParaRPr lang="en-US" sz="2400" kern="1200" dirty="0">
            <a:solidFill>
              <a:schemeClr val="bg2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63640" y="1814601"/>
        <a:ext cx="4896863" cy="518457"/>
      </dsp:txXfrm>
    </dsp:sp>
    <dsp:sp modelId="{2CD20459-9E8D-4304-80AF-1C42F5DF85D8}">
      <dsp:nvSpPr>
        <dsp:cNvPr id="0" name=""/>
        <dsp:cNvSpPr/>
      </dsp:nvSpPr>
      <dsp:spPr>
        <a:xfrm>
          <a:off x="112441" y="1728194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947C43-33ED-4FAD-A699-B587B8257B30}">
      <dsp:nvSpPr>
        <dsp:cNvPr id="0" name=""/>
        <dsp:cNvSpPr/>
      </dsp:nvSpPr>
      <dsp:spPr>
        <a:xfrm>
          <a:off x="0" y="25"/>
          <a:ext cx="6048672" cy="3692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Flat file based database management system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6012618" cy="3332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07ACC1-270D-4385-AEEF-FDA861B7A845}">
      <dsp:nvSpPr>
        <dsp:cNvPr id="0" name=""/>
        <dsp:cNvSpPr/>
      </dsp:nvSpPr>
      <dsp:spPr>
        <a:xfrm>
          <a:off x="0" y="25"/>
          <a:ext cx="5628254" cy="3692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ierarchical database management system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5592200" cy="33322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AB1CEB-B4F6-4275-8D31-7399E09EB115}">
      <dsp:nvSpPr>
        <dsp:cNvPr id="0" name=""/>
        <dsp:cNvSpPr/>
      </dsp:nvSpPr>
      <dsp:spPr>
        <a:xfrm>
          <a:off x="0" y="25"/>
          <a:ext cx="5174840" cy="3692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Network database management system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5138786" cy="33322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21784B-069A-4A22-84A9-3BB43E1CBB1A}">
      <dsp:nvSpPr>
        <dsp:cNvPr id="0" name=""/>
        <dsp:cNvSpPr/>
      </dsp:nvSpPr>
      <dsp:spPr>
        <a:xfrm>
          <a:off x="0" y="25"/>
          <a:ext cx="6038935" cy="3692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Object oriented database management system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6002881" cy="33322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E58174-EEBB-4C39-A14C-E90F314FD54C}">
      <dsp:nvSpPr>
        <dsp:cNvPr id="0" name=""/>
        <dsp:cNvSpPr/>
      </dsp:nvSpPr>
      <dsp:spPr>
        <a:xfrm>
          <a:off x="0" y="25"/>
          <a:ext cx="5462872" cy="3692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lational database management system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027" y="18052"/>
        <a:ext cx="5426818" cy="333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9/04/2018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9/04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6616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290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094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54812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77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xmlns="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xmlns="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1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" y="2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" y="2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3" y="1495447"/>
            <a:ext cx="11813715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77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AF4F1FB-F58A-402C-B9C9-1F90694A5B9C}" type="datetimeFigureOut">
              <a:rPr lang="en-US" smtClean="0"/>
              <a:t>4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815F728-0559-4C80-AFBF-96427A0438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02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534953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B10E92A-A728-4C77-8191-62741A338FCB}" type="datetimeFigureOut">
              <a:rPr lang="en-US" smtClean="0"/>
              <a:t>4/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BAD677-CDED-453D-A17F-05E15E662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00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B987D8C-64E0-4D2B-9951-A57E1E3413AC}" type="datetimeFigureOut">
              <a:rPr lang="en-IN" smtClean="0"/>
              <a:t>09-04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1118F4-6E95-4522-8A42-C9A8A06693A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9362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66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pic>
        <p:nvPicPr>
          <p:cNvPr id="10" name="Picture 9" descr="Our_Universcity_Logotype-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7368" y="1196752"/>
            <a:ext cx="2232248" cy="53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940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634" userDrawn="1">
          <p15:clr>
            <a:srgbClr val="FBAE40"/>
          </p15:clr>
        </p15:guide>
        <p15:guide id="3" pos="7219" userDrawn="1">
          <p15:clr>
            <a:srgbClr val="FBAE40"/>
          </p15:clr>
        </p15:guide>
        <p15:guide id="4" orient="horz" pos="2614" userDrawn="1">
          <p15:clr>
            <a:srgbClr val="FBAE40"/>
          </p15:clr>
        </p15:guide>
        <p15:guide id="5" orient="horz" pos="3203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9"/>
          <p:cNvSpPr>
            <a:spLocks/>
          </p:cNvSpPr>
          <p:nvPr userDrawn="1"/>
        </p:nvSpPr>
        <p:spPr bwMode="auto">
          <a:xfrm>
            <a:off x="-312712" y="0"/>
            <a:ext cx="8760296" cy="8102938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4 h 1514"/>
              <a:gd name="T4" fmla="*/ 763 w 1637"/>
              <a:gd name="T5" fmla="*/ 1046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4"/>
                </a:cubicBezTo>
                <a:cubicBezTo>
                  <a:pt x="840" y="663"/>
                  <a:pt x="594" y="755"/>
                  <a:pt x="763" y="1046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>
            <a:extLst>
              <a:ext uri="{FF2B5EF4-FFF2-40B4-BE49-F238E27FC236}">
                <a16:creationId xmlns:a16="http://schemas.microsoft.com/office/drawing/2014/main" xmlns="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xmlns="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xmlns="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xmlns="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6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664335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5831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75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1" r:id="rId2"/>
    <p:sldLayoutId id="2147483720" r:id="rId3"/>
  </p:sldLayoutIdLst>
  <p:hf sldNum="0"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22" r:id="rId2"/>
    <p:sldLayoutId id="2147483672" r:id="rId3"/>
    <p:sldLayoutId id="2147483811" r:id="rId4"/>
    <p:sldLayoutId id="2147483781" r:id="rId5"/>
    <p:sldLayoutId id="2147483780" r:id="rId6"/>
    <p:sldLayoutId id="2147483734" r:id="rId7"/>
    <p:sldLayoutId id="2147483735" r:id="rId8"/>
    <p:sldLayoutId id="2147483812" r:id="rId9"/>
    <p:sldLayoutId id="2147483813" r:id="rId10"/>
    <p:sldLayoutId id="2147483815" r:id="rId11"/>
    <p:sldLayoutId id="2147483816" r:id="rId12"/>
    <p:sldLayoutId id="214748381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3212078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52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1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microsoft.com/office/2007/relationships/diagramDrawing" Target="../diagrams/drawing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60.png"/><Relationship Id="rId12" Type="http://schemas.openxmlformats.org/officeDocument/2006/relationships/diagramColors" Target="../diagrams/colors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11" Type="http://schemas.openxmlformats.org/officeDocument/2006/relationships/diagramQuickStyle" Target="../diagrams/quickStyle3.xml"/><Relationship Id="rId5" Type="http://schemas.openxmlformats.org/officeDocument/2006/relationships/diagramColors" Target="../diagrams/colors2.xml"/><Relationship Id="rId10" Type="http://schemas.openxmlformats.org/officeDocument/2006/relationships/diagramLayout" Target="../diagrams/layout3.xml"/><Relationship Id="rId4" Type="http://schemas.openxmlformats.org/officeDocument/2006/relationships/diagramQuickStyle" Target="../diagrams/quickStyle2.xml"/><Relationship Id="rId9" Type="http://schemas.openxmlformats.org/officeDocument/2006/relationships/diagramData" Target="../diagrams/data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gif"/><Relationship Id="rId7" Type="http://schemas.openxmlformats.org/officeDocument/2006/relationships/image" Target="../media/image6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2.jpeg"/><Relationship Id="rId5" Type="http://schemas.openxmlformats.org/officeDocument/2006/relationships/image" Target="../media/image71.png"/><Relationship Id="rId4" Type="http://schemas.openxmlformats.org/officeDocument/2006/relationships/image" Target="../media/image70.jf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0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diagramLayout" Target="../diagrams/layout8.xml"/><Relationship Id="rId26" Type="http://schemas.microsoft.com/office/2007/relationships/diagramDrawing" Target="../diagrams/drawing9.xml"/><Relationship Id="rId3" Type="http://schemas.openxmlformats.org/officeDocument/2006/relationships/diagramLayout" Target="../diagrams/layout5.xml"/><Relationship Id="rId21" Type="http://schemas.microsoft.com/office/2007/relationships/diagramDrawing" Target="../diagrams/drawing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diagramData" Target="../diagrams/data8.xml"/><Relationship Id="rId25" Type="http://schemas.openxmlformats.org/officeDocument/2006/relationships/diagramColors" Target="../diagrams/colors9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diagramColors" Target="../diagrams/colors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24" Type="http://schemas.openxmlformats.org/officeDocument/2006/relationships/diagramQuickStyle" Target="../diagrams/quickStyle9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23" Type="http://schemas.openxmlformats.org/officeDocument/2006/relationships/diagramLayout" Target="../diagrams/layout9.xml"/><Relationship Id="rId10" Type="http://schemas.openxmlformats.org/officeDocument/2006/relationships/diagramColors" Target="../diagrams/colors6.xml"/><Relationship Id="rId19" Type="http://schemas.openxmlformats.org/officeDocument/2006/relationships/diagramQuickStyle" Target="../diagrams/quickStyle8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Relationship Id="rId22" Type="http://schemas.openxmlformats.org/officeDocument/2006/relationships/diagramData" Target="../diagrams/data9.xml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12.xml"/><Relationship Id="rId18" Type="http://schemas.openxmlformats.org/officeDocument/2006/relationships/diagramLayout" Target="../diagrams/layout13.xml"/><Relationship Id="rId26" Type="http://schemas.microsoft.com/office/2007/relationships/diagramDrawing" Target="../diagrams/drawing14.xml"/><Relationship Id="rId39" Type="http://schemas.openxmlformats.org/officeDocument/2006/relationships/diagramQuickStyle" Target="../diagrams/quickStyle17.xml"/><Relationship Id="rId21" Type="http://schemas.microsoft.com/office/2007/relationships/diagramDrawing" Target="../diagrams/drawing13.xml"/><Relationship Id="rId34" Type="http://schemas.openxmlformats.org/officeDocument/2006/relationships/diagramQuickStyle" Target="../diagrams/quickStyle16.xml"/><Relationship Id="rId42" Type="http://schemas.openxmlformats.org/officeDocument/2006/relationships/diagramData" Target="../diagrams/data18.xml"/><Relationship Id="rId47" Type="http://schemas.openxmlformats.org/officeDocument/2006/relationships/diagramData" Target="../diagrams/data19.xml"/><Relationship Id="rId50" Type="http://schemas.openxmlformats.org/officeDocument/2006/relationships/diagramColors" Target="../diagrams/colors19.xml"/><Relationship Id="rId55" Type="http://schemas.openxmlformats.org/officeDocument/2006/relationships/diagramColors" Target="../diagrams/colors20.xml"/><Relationship Id="rId7" Type="http://schemas.openxmlformats.org/officeDocument/2006/relationships/diagramData" Target="../diagrams/data11.xml"/><Relationship Id="rId12" Type="http://schemas.openxmlformats.org/officeDocument/2006/relationships/diagramData" Target="../diagrams/data12.xml"/><Relationship Id="rId17" Type="http://schemas.openxmlformats.org/officeDocument/2006/relationships/diagramData" Target="../diagrams/data13.xml"/><Relationship Id="rId25" Type="http://schemas.openxmlformats.org/officeDocument/2006/relationships/diagramColors" Target="../diagrams/colors14.xml"/><Relationship Id="rId33" Type="http://schemas.openxmlformats.org/officeDocument/2006/relationships/diagramLayout" Target="../diagrams/layout16.xml"/><Relationship Id="rId38" Type="http://schemas.openxmlformats.org/officeDocument/2006/relationships/diagramLayout" Target="../diagrams/layout17.xml"/><Relationship Id="rId46" Type="http://schemas.microsoft.com/office/2007/relationships/diagramDrawing" Target="../diagrams/drawing18.xml"/><Relationship Id="rId2" Type="http://schemas.openxmlformats.org/officeDocument/2006/relationships/diagramData" Target="../diagrams/data10.xml"/><Relationship Id="rId16" Type="http://schemas.microsoft.com/office/2007/relationships/diagramDrawing" Target="../diagrams/drawing12.xml"/><Relationship Id="rId20" Type="http://schemas.openxmlformats.org/officeDocument/2006/relationships/diagramColors" Target="../diagrams/colors13.xml"/><Relationship Id="rId29" Type="http://schemas.openxmlformats.org/officeDocument/2006/relationships/diagramQuickStyle" Target="../diagrams/quickStyle15.xml"/><Relationship Id="rId41" Type="http://schemas.microsoft.com/office/2007/relationships/diagramDrawing" Target="../diagrams/drawing17.xml"/><Relationship Id="rId54" Type="http://schemas.openxmlformats.org/officeDocument/2006/relationships/diagramQuickStyle" Target="../diagrams/quickStyle2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24" Type="http://schemas.openxmlformats.org/officeDocument/2006/relationships/diagramQuickStyle" Target="../diagrams/quickStyle14.xml"/><Relationship Id="rId32" Type="http://schemas.openxmlformats.org/officeDocument/2006/relationships/diagramData" Target="../diagrams/data16.xml"/><Relationship Id="rId37" Type="http://schemas.openxmlformats.org/officeDocument/2006/relationships/diagramData" Target="../diagrams/data17.xml"/><Relationship Id="rId40" Type="http://schemas.openxmlformats.org/officeDocument/2006/relationships/diagramColors" Target="../diagrams/colors17.xml"/><Relationship Id="rId45" Type="http://schemas.openxmlformats.org/officeDocument/2006/relationships/diagramColors" Target="../diagrams/colors18.xml"/><Relationship Id="rId53" Type="http://schemas.openxmlformats.org/officeDocument/2006/relationships/diagramLayout" Target="../diagrams/layout20.xml"/><Relationship Id="rId5" Type="http://schemas.openxmlformats.org/officeDocument/2006/relationships/diagramColors" Target="../diagrams/colors10.xml"/><Relationship Id="rId15" Type="http://schemas.openxmlformats.org/officeDocument/2006/relationships/diagramColors" Target="../diagrams/colors12.xml"/><Relationship Id="rId23" Type="http://schemas.openxmlformats.org/officeDocument/2006/relationships/diagramLayout" Target="../diagrams/layout14.xml"/><Relationship Id="rId28" Type="http://schemas.openxmlformats.org/officeDocument/2006/relationships/diagramLayout" Target="../diagrams/layout15.xml"/><Relationship Id="rId36" Type="http://schemas.microsoft.com/office/2007/relationships/diagramDrawing" Target="../diagrams/drawing16.xml"/><Relationship Id="rId49" Type="http://schemas.openxmlformats.org/officeDocument/2006/relationships/diagramQuickStyle" Target="../diagrams/quickStyle19.xml"/><Relationship Id="rId57" Type="http://schemas.openxmlformats.org/officeDocument/2006/relationships/image" Target="../media/image93.png"/><Relationship Id="rId10" Type="http://schemas.openxmlformats.org/officeDocument/2006/relationships/diagramColors" Target="../diagrams/colors11.xml"/><Relationship Id="rId19" Type="http://schemas.openxmlformats.org/officeDocument/2006/relationships/diagramQuickStyle" Target="../diagrams/quickStyle13.xml"/><Relationship Id="rId31" Type="http://schemas.microsoft.com/office/2007/relationships/diagramDrawing" Target="../diagrams/drawing15.xml"/><Relationship Id="rId44" Type="http://schemas.openxmlformats.org/officeDocument/2006/relationships/diagramQuickStyle" Target="../diagrams/quickStyle18.xml"/><Relationship Id="rId52" Type="http://schemas.openxmlformats.org/officeDocument/2006/relationships/diagramData" Target="../diagrams/data20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Relationship Id="rId14" Type="http://schemas.openxmlformats.org/officeDocument/2006/relationships/diagramQuickStyle" Target="../diagrams/quickStyle12.xml"/><Relationship Id="rId22" Type="http://schemas.openxmlformats.org/officeDocument/2006/relationships/diagramData" Target="../diagrams/data14.xml"/><Relationship Id="rId27" Type="http://schemas.openxmlformats.org/officeDocument/2006/relationships/diagramData" Target="../diagrams/data15.xml"/><Relationship Id="rId30" Type="http://schemas.openxmlformats.org/officeDocument/2006/relationships/diagramColors" Target="../diagrams/colors15.xml"/><Relationship Id="rId35" Type="http://schemas.openxmlformats.org/officeDocument/2006/relationships/diagramColors" Target="../diagrams/colors16.xml"/><Relationship Id="rId43" Type="http://schemas.openxmlformats.org/officeDocument/2006/relationships/diagramLayout" Target="../diagrams/layout18.xml"/><Relationship Id="rId48" Type="http://schemas.openxmlformats.org/officeDocument/2006/relationships/diagramLayout" Target="../diagrams/layout19.xml"/><Relationship Id="rId56" Type="http://schemas.microsoft.com/office/2007/relationships/diagramDrawing" Target="../diagrams/drawing20.xml"/><Relationship Id="rId8" Type="http://schemas.openxmlformats.org/officeDocument/2006/relationships/diagramLayout" Target="../diagrams/layout11.xml"/><Relationship Id="rId51" Type="http://schemas.microsoft.com/office/2007/relationships/diagramDrawing" Target="../diagrams/drawing19.xml"/><Relationship Id="rId3" Type="http://schemas.openxmlformats.org/officeDocument/2006/relationships/diagramLayout" Target="../diagrams/layou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-2616968" y="2996952"/>
            <a:ext cx="5399981" cy="10795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3</a:t>
            </a:r>
            <a:endParaRPr lang="en-US" sz="36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15880" y="3068960"/>
            <a:ext cx="504056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 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L SAIKRISHNA                        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NEGA                                     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RISHIKESH S                           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JANA                                       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HAVANA                                    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 VINAYKUMAR                        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76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therboard</a:t>
            </a: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Content Placeholder 1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2878" y="1613123"/>
            <a:ext cx="7000723" cy="4594225"/>
          </a:xfrm>
        </p:spPr>
      </p:pic>
      <p:cxnSp>
        <p:nvCxnSpPr>
          <p:cNvPr id="20" name="Straight Arrow Connector 19"/>
          <p:cNvCxnSpPr/>
          <p:nvPr/>
        </p:nvCxnSpPr>
        <p:spPr>
          <a:xfrm flipV="1">
            <a:off x="3867665" y="2014151"/>
            <a:ext cx="1433384" cy="2471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301049" y="2014151"/>
            <a:ext cx="308919" cy="101325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61989" y="1897332"/>
            <a:ext cx="135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PU SOCKET</a:t>
            </a:r>
          </a:p>
        </p:txBody>
      </p:sp>
      <p:cxnSp>
        <p:nvCxnSpPr>
          <p:cNvPr id="27" name="Straight Arrow Connector 26"/>
          <p:cNvCxnSpPr>
            <a:stCxn id="28" idx="1"/>
          </p:cNvCxnSpPr>
          <p:nvPr/>
        </p:nvCxnSpPr>
        <p:spPr>
          <a:xfrm flipH="1">
            <a:off x="8933936" y="2683534"/>
            <a:ext cx="691978" cy="442725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625914" y="2421924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ATA CONNECTOR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6833287" y="396652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045146" y="4077731"/>
            <a:ext cx="15940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MOS BATTERY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5053914" y="1452488"/>
            <a:ext cx="308919" cy="345989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053914" y="1452488"/>
            <a:ext cx="1927654" cy="0"/>
          </a:xfrm>
          <a:prstGeom prst="lin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969210" y="1305346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DIMM SLOT</a:t>
            </a:r>
          </a:p>
        </p:txBody>
      </p:sp>
      <p:sp>
        <p:nvSpPr>
          <p:cNvPr id="15" name="Left Brace 14"/>
          <p:cNvSpPr/>
          <p:nvPr/>
        </p:nvSpPr>
        <p:spPr>
          <a:xfrm rot="18741364">
            <a:off x="2815844" y="3503140"/>
            <a:ext cx="645546" cy="1816443"/>
          </a:xfrm>
          <a:prstGeom prst="leftBrac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12045" y="4744994"/>
            <a:ext cx="1581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BACK PANEL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(PERIPHERAL CONNECTORS)</a:t>
            </a:r>
          </a:p>
        </p:txBody>
      </p:sp>
      <p:sp>
        <p:nvSpPr>
          <p:cNvPr id="19" name="Right Brace 18"/>
          <p:cNvSpPr/>
          <p:nvPr/>
        </p:nvSpPr>
        <p:spPr>
          <a:xfrm rot="3138051">
            <a:off x="7085269" y="5191652"/>
            <a:ext cx="593125" cy="809939"/>
          </a:xfrm>
          <a:prstGeom prst="rightBrac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61189" y="5634455"/>
            <a:ext cx="1618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FRONT PANEL CONNECTOR PINS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7381831" y="4385508"/>
            <a:ext cx="1292612" cy="44598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755072" y="4744994"/>
            <a:ext cx="1303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SLOT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4683211" y="4510216"/>
            <a:ext cx="1149178" cy="133453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138617" y="5844746"/>
            <a:ext cx="1915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XPRESS SLO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 flipV="1">
            <a:off x="8028137" y="333427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332108" y="3385692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OUTH BRIDGE</a:t>
            </a:r>
          </a:p>
        </p:txBody>
      </p:sp>
    </p:spTree>
    <p:extLst>
      <p:ext uri="{BB962C8B-B14F-4D97-AF65-F5344CB8AC3E}">
        <p14:creationId xmlns:p14="http://schemas.microsoft.com/office/powerpoint/2010/main" val="326016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/>
      <p:bldP spid="7" grpId="0"/>
      <p:bldP spid="13" grpId="0"/>
      <p:bldP spid="15" grpId="0" animBg="1"/>
      <p:bldP spid="17" grpId="0"/>
      <p:bldP spid="19" grpId="0" animBg="1"/>
      <p:bldP spid="21" grpId="0"/>
      <p:bldP spid="29" grpId="0"/>
      <p:bldP spid="32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RD DISK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7662" y="1289510"/>
            <a:ext cx="5668337" cy="412833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896820" y="40515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2" descr="http://www.byte-notes.com/sites/default/files/styles/large/public/field/image/types-of-cache-memory.gif?itok=2GeBSTq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32" y="1484784"/>
            <a:ext cx="4811077" cy="393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297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-456109" y="1557412"/>
            <a:ext cx="5399981" cy="1079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r" defTabSz="9144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FUNDEMANTALS</a:t>
            </a:r>
            <a:endParaRPr lang="en-US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98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3625080" y="260648"/>
            <a:ext cx="12192000" cy="908050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OPERATING SYSTE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551384" y="1877416"/>
            <a:ext cx="7168551" cy="340615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72264" y="2996952"/>
            <a:ext cx="2592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bedded OS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472264" y="3429000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mple Batch OS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469615" y="3789040"/>
            <a:ext cx="25229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al Time OS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433612" y="4149080"/>
            <a:ext cx="24149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stributed OS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472264" y="2420888"/>
            <a:ext cx="309634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O</a:t>
            </a:r>
            <a:r>
              <a:rPr lang="en-US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1384" y="692696"/>
            <a:ext cx="11305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system is an interface between software and hardware.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52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206592"/>
            <a:ext cx="59766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6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KERNEL </a:t>
            </a:r>
            <a:r>
              <a:rPr lang="en-IN" sz="26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ARCHITECHTURE</a:t>
            </a:r>
            <a:endParaRPr lang="en-IN" sz="26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360" y="908720"/>
            <a:ext cx="111612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ERNEL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: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 kernel is a computer program that is the core of a computer's 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1424" y="2636912"/>
            <a:ext cx="345638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Kernel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MICRO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MONO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912" y="1700808"/>
            <a:ext cx="5740896" cy="4776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58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1003224"/>
            <a:ext cx="6696744" cy="5400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07368" y="200253"/>
            <a:ext cx="5208477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BOOTING PROCES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61092" y="1411280"/>
            <a:ext cx="326504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Power On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BIOS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POST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MBR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Boot Loader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Windows Loader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Windows Kernel</a:t>
            </a:r>
          </a:p>
          <a:p>
            <a:pPr marL="285750" indent="-285750">
              <a:buFont typeface="Wingdings" pitchFamily="2" charset="2"/>
              <a:buChar char="Ø"/>
            </a:pPr>
            <a:endParaRPr lang="en-IN" dirty="0"/>
          </a:p>
          <a:p>
            <a:pPr marL="285750" indent="-285750">
              <a:buFont typeface="Wingdings" pitchFamily="2" charset="2"/>
              <a:buChar char="Ø"/>
            </a:pPr>
            <a:r>
              <a:rPr lang="en-IN" dirty="0" smtClean="0"/>
              <a:t>Log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9183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352" y="1179560"/>
            <a:ext cx="4502274" cy="23705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192" y="1052736"/>
            <a:ext cx="3960440" cy="28746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032" y="3550144"/>
            <a:ext cx="5238750" cy="273630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79376" y="251937"/>
            <a:ext cx="345638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SYSTEM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806" y="3789040"/>
            <a:ext cx="3528392" cy="265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0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2976388" y="404664"/>
            <a:ext cx="11016604" cy="863601"/>
          </a:xfrm>
        </p:spPr>
        <p:txBody>
          <a:bodyPr>
            <a:no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PROCESS MANAGEMENT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60" y="3791939"/>
            <a:ext cx="5384800" cy="2334225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223293" y="1700808"/>
            <a:ext cx="5384800" cy="4525963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reads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llest sequence of programmed instructions</a:t>
            </a:r>
            <a:r>
              <a:rPr lang="en-US" dirty="0"/>
              <a:t> </a:t>
            </a:r>
          </a:p>
        </p:txBody>
      </p:sp>
      <p:sp>
        <p:nvSpPr>
          <p:cNvPr id="8" name="Rectangle 7"/>
          <p:cNvSpPr/>
          <p:nvPr/>
        </p:nvSpPr>
        <p:spPr>
          <a:xfrm>
            <a:off x="101600" y="150604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llection of one or more threads and associated system resources such as memory, open files and devic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938" y="3140045"/>
            <a:ext cx="23406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 States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9987" y="3356992"/>
            <a:ext cx="5553075" cy="274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09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35360" y="200253"/>
            <a:ext cx="435401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3208" y="1556792"/>
            <a:ext cx="7128792" cy="43924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56792"/>
            <a:ext cx="4151784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014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426921" y="2515897"/>
            <a:ext cx="6018865" cy="14974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endParaRPr lang="en-US" b="1" dirty="0">
              <a:latin typeface="+mn-l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63352" y="2514706"/>
            <a:ext cx="7560840" cy="6262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FUNDEMENTAL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47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ENDA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07988" y="1124744"/>
            <a:ext cx="11784012" cy="409202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rd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24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Baskerville Old Face" panose="02020602080505020303" pitchFamily="18" charset="0"/>
              </a:rPr>
              <a:t>Introduction:</a:t>
            </a:r>
            <a:endParaRPr lang="en-US" b="1" dirty="0">
              <a:latin typeface="Baskerville Old Face" panose="020206020805050203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fontAlgn="base"/>
            <a:r>
              <a:rPr lang="en-US" sz="2400" dirty="0" smtClean="0">
                <a:latin typeface="Baskerville Old Face" panose="02020602080505020303" pitchFamily="18" charset="0"/>
              </a:rPr>
              <a:t>Linux was introduces by </a:t>
            </a:r>
            <a:r>
              <a:rPr lang="en-US" sz="2400" dirty="0">
                <a:latin typeface="Baskerville Old Face" panose="02020602080505020303" pitchFamily="18" charset="0"/>
              </a:rPr>
              <a:t>L</a:t>
            </a:r>
            <a:r>
              <a:rPr lang="en-US" sz="2400" dirty="0" smtClean="0">
                <a:latin typeface="Baskerville Old Face" panose="02020602080505020303" pitchFamily="18" charset="0"/>
              </a:rPr>
              <a:t>inus Torvald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dirty="0" smtClean="0">
                <a:latin typeface="Baskerville Old Face" panose="02020602080505020303" pitchFamily="18" charset="0"/>
              </a:rPr>
              <a:t>in the year 1991.</a:t>
            </a:r>
          </a:p>
          <a:p>
            <a:pPr lvl="1" fontAlgn="base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nux or, a Unix-like computer operating system assembled under the model of free and open-source software development and distribution.</a:t>
            </a:r>
          </a:p>
          <a:p>
            <a:pPr lvl="1" fontAlgn="base"/>
            <a:endParaRPr lang="en-US" sz="2400" dirty="0" smtClean="0">
              <a:latin typeface="Baskerville Old Face" panose="02020602080505020303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705" t="15981"/>
          <a:stretch/>
        </p:blipFill>
        <p:spPr>
          <a:xfrm>
            <a:off x="7040018" y="2129978"/>
            <a:ext cx="4412540" cy="22650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2680429"/>
            <a:ext cx="3858102" cy="21605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392144" y="4539479"/>
            <a:ext cx="2160240" cy="5760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ftware Version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7782543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9" idx="2"/>
          </p:cNvCxnSpPr>
          <p:nvPr/>
        </p:nvCxnSpPr>
        <p:spPr>
          <a:xfrm>
            <a:off x="8472264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6888088" y="5805264"/>
            <a:ext cx="144016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pha 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8817124" y="5805264"/>
            <a:ext cx="145534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27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5" grpId="0" build="p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Baskerville Old Face" panose="02020602080505020303" pitchFamily="18" charset="0"/>
              </a:rPr>
              <a:t>Linux Subsystem: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/>
          </p:nvPr>
        </p:nvGraphicFramePr>
        <p:xfrm>
          <a:off x="695400" y="1124744"/>
          <a:ext cx="5760640" cy="439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4772" y="1412776"/>
            <a:ext cx="2197882" cy="11154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9010" y="898931"/>
            <a:ext cx="2143125" cy="214312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0222" y="3175659"/>
            <a:ext cx="2444606" cy="13688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38545" y="3140968"/>
            <a:ext cx="1286047" cy="170153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0096" y="5119862"/>
            <a:ext cx="1582802" cy="15828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2"/>
          <a:srcRect r="943" b="-391"/>
          <a:stretch/>
        </p:blipFill>
        <p:spPr>
          <a:xfrm>
            <a:off x="9601366" y="5395258"/>
            <a:ext cx="1800200" cy="1274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287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9785FAB-08E8-4433-97CB-3DACD2EB519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>
                                            <p:graphicEl>
                                              <a:dgm id="{49785FAB-08E8-4433-97CB-3DACD2EB519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0413264-A758-4ED8-9205-058B092C551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>
                                            <p:graphicEl>
                                              <a:dgm id="{60413264-A758-4ED8-9205-058B092C551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8B3F084-C609-41DF-B7A5-B3D696D8E9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>
                                            <p:graphicEl>
                                              <a:dgm id="{A8B3F084-C609-41DF-B7A5-B3D696D8E9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FD6C9F3-8D91-4C6C-A11D-3D346290A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>
                                            <p:graphicEl>
                                              <a:dgm id="{5FD6C9F3-8D91-4C6C-A11D-3D346290AC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C81B57A-A34B-4DC2-BF49-77828593C16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>
                                            <p:graphicEl>
                                              <a:dgm id="{1C81B57A-A34B-4DC2-BF49-77828593C16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7BE43BE-98E9-4AE5-A36E-C4F98A061C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>
                                            <p:graphicEl>
                                              <a:dgm id="{97BE43BE-98E9-4AE5-A36E-C4F98A061C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D790799-C1A6-4912-A471-85393B0ED9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>
                                            <p:graphicEl>
                                              <a:dgm id="{6D790799-C1A6-4912-A471-85393B0ED93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8A15B3A4-12E2-481B-BE90-498DFD692BA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>
                                            <p:graphicEl>
                                              <a:dgm id="{8A15B3A4-12E2-481B-BE90-498DFD692BA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325D8EB-F374-45FF-B488-BDF1EC5AC7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>
                                            <p:graphicEl>
                                              <a:dgm id="{9325D8EB-F374-45FF-B488-BDF1EC5AC75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79376" y="323945"/>
            <a:ext cx="25442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Kernel</a:t>
            </a:r>
            <a:endParaRPr lang="en-US" sz="32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373863" y="1340768"/>
            <a:ext cx="2919046" cy="53926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40815" y="1270429"/>
            <a:ext cx="3012831" cy="6799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Memory Manageme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3430" y="2583414"/>
            <a:ext cx="2227385" cy="633046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Virtual Files Syste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601248" y="2595136"/>
            <a:ext cx="2426677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Inter-process Communicat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268353" y="2583414"/>
            <a:ext cx="1957753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Process Scheduler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033891" y="4265676"/>
            <a:ext cx="2426677" cy="8323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Network Interface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251986" y="1610399"/>
            <a:ext cx="1477107" cy="97301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1486449" y="1880029"/>
            <a:ext cx="1254366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847432" y="1774522"/>
            <a:ext cx="762000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0" idx="3"/>
            <a:endCxn id="12" idx="1"/>
          </p:cNvCxnSpPr>
          <p:nvPr/>
        </p:nvCxnSpPr>
        <p:spPr>
          <a:xfrm>
            <a:off x="2740815" y="2899937"/>
            <a:ext cx="527538" cy="23447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1" idx="1"/>
            <a:endCxn id="12" idx="3"/>
          </p:cNvCxnSpPr>
          <p:nvPr/>
        </p:nvCxnSpPr>
        <p:spPr>
          <a:xfrm flipH="1" flipV="1">
            <a:off x="5226106" y="2923384"/>
            <a:ext cx="375142" cy="1172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3" idx="0"/>
          </p:cNvCxnSpPr>
          <p:nvPr/>
        </p:nvCxnSpPr>
        <p:spPr>
          <a:xfrm flipH="1" flipV="1">
            <a:off x="4247229" y="3275075"/>
            <a:ext cx="1" cy="99060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627123" y="3327828"/>
            <a:ext cx="1266094" cy="146538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" idx="2"/>
            <a:endCxn id="12" idx="0"/>
          </p:cNvCxnSpPr>
          <p:nvPr/>
        </p:nvCxnSpPr>
        <p:spPr>
          <a:xfrm flipH="1">
            <a:off x="4247230" y="1950367"/>
            <a:ext cx="1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440663" y="1950367"/>
            <a:ext cx="0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824192" y="3770375"/>
            <a:ext cx="352839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Run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0- Ha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1-Single 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2-MultiUser mode without Net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3-Full multi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4-Unu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5-X1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6-Reboot.</a:t>
            </a:r>
            <a:endParaRPr lang="en-US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65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25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404664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Baskerville Old Face" panose="02020602080505020303" pitchFamily="18" charset="0"/>
              </a:rPr>
              <a:t>Booting Process </a:t>
            </a:r>
            <a:endParaRPr lang="en-US" sz="2400" dirty="0">
              <a:latin typeface="Baskerville Old Face" panose="02020602080505020303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1127" y="3350389"/>
            <a:ext cx="3888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Baskerville Old Face" panose="02020602080505020303" pitchFamily="18" charset="0"/>
              </a:rPr>
              <a:t>Shell </a:t>
            </a:r>
            <a:endParaRPr lang="en-US" sz="2000" dirty="0">
              <a:latin typeface="Baskerville Old Face" panose="0202060208050502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55947" y="4332476"/>
            <a:ext cx="23042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Sh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our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T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Z-Shell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172" y="4017848"/>
            <a:ext cx="2927255" cy="22426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1268760"/>
            <a:ext cx="2088232" cy="11107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Striped Right Arrow 7"/>
          <p:cNvSpPr/>
          <p:nvPr/>
        </p:nvSpPr>
        <p:spPr>
          <a:xfrm>
            <a:off x="2639616" y="1644121"/>
            <a:ext cx="792088" cy="46805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3431704" y="1356089"/>
            <a:ext cx="1368152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IOS</a:t>
            </a:r>
            <a:endParaRPr lang="en-US" dirty="0"/>
          </a:p>
        </p:txBody>
      </p:sp>
      <p:sp>
        <p:nvSpPr>
          <p:cNvPr id="10" name="Striped Right Arrow 9"/>
          <p:cNvSpPr/>
          <p:nvPr/>
        </p:nvSpPr>
        <p:spPr>
          <a:xfrm>
            <a:off x="4787251" y="1644121"/>
            <a:ext cx="792088" cy="46805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5567769" y="1365078"/>
            <a:ext cx="1512168" cy="9374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BR</a:t>
            </a:r>
            <a:endParaRPr lang="en-US" dirty="0"/>
          </a:p>
        </p:txBody>
      </p:sp>
      <p:sp>
        <p:nvSpPr>
          <p:cNvPr id="12" name="Striped Right Arrow 11"/>
          <p:cNvSpPr/>
          <p:nvPr/>
        </p:nvSpPr>
        <p:spPr>
          <a:xfrm>
            <a:off x="7116716" y="1590115"/>
            <a:ext cx="635467" cy="46805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7750616" y="1421683"/>
            <a:ext cx="1355549" cy="8460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RUB</a:t>
            </a:r>
            <a:endParaRPr lang="en-US" dirty="0"/>
          </a:p>
        </p:txBody>
      </p:sp>
      <p:sp>
        <p:nvSpPr>
          <p:cNvPr id="14" name="Striped Right Arrow 13"/>
          <p:cNvSpPr/>
          <p:nvPr/>
        </p:nvSpPr>
        <p:spPr>
          <a:xfrm>
            <a:off x="9106165" y="1644121"/>
            <a:ext cx="662243" cy="46805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9776844" y="1484784"/>
            <a:ext cx="1224136" cy="8074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KERNEL</a:t>
            </a:r>
            <a:endParaRPr lang="en-US" dirty="0"/>
          </a:p>
        </p:txBody>
      </p:sp>
      <p:sp>
        <p:nvSpPr>
          <p:cNvPr id="16" name="Left-Up Arrow 15"/>
          <p:cNvSpPr/>
          <p:nvPr/>
        </p:nvSpPr>
        <p:spPr>
          <a:xfrm>
            <a:off x="10064876" y="2303623"/>
            <a:ext cx="648072" cy="1136807"/>
          </a:xfrm>
          <a:prstGeom prst="lef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9106165" y="2996952"/>
            <a:ext cx="958711" cy="6480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IT</a:t>
            </a:r>
            <a:endParaRPr lang="en-US" dirty="0"/>
          </a:p>
        </p:txBody>
      </p:sp>
      <p:sp>
        <p:nvSpPr>
          <p:cNvPr id="18" name="Left Arrow 17"/>
          <p:cNvSpPr/>
          <p:nvPr/>
        </p:nvSpPr>
        <p:spPr>
          <a:xfrm>
            <a:off x="8314077" y="3096561"/>
            <a:ext cx="792088" cy="43204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>
            <a:off x="7116717" y="2996952"/>
            <a:ext cx="1211532" cy="6480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UN LEVEL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4979" y="2731818"/>
            <a:ext cx="1551550" cy="12065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Left Arrow 20"/>
          <p:cNvSpPr/>
          <p:nvPr/>
        </p:nvSpPr>
        <p:spPr>
          <a:xfrm>
            <a:off x="6508075" y="3125926"/>
            <a:ext cx="590302" cy="41017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733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476672"/>
            <a:ext cx="4968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Baskerville Old Face" panose="02020602080505020303" pitchFamily="18" charset="0"/>
              </a:rPr>
              <a:t>File Management </a:t>
            </a:r>
            <a:endParaRPr lang="en-US" sz="2400" dirty="0">
              <a:latin typeface="Baskerville Old Face" panose="02020602080505020303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662" t="15637"/>
          <a:stretch/>
        </p:blipFill>
        <p:spPr>
          <a:xfrm>
            <a:off x="6516880" y="908737"/>
            <a:ext cx="5492041" cy="32403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5360" y="4941168"/>
            <a:ext cx="46805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ypes of Linux File System.</a:t>
            </a:r>
          </a:p>
          <a:p>
            <a:endParaRPr lang="en-US" dirty="0" smtClean="0"/>
          </a:p>
          <a:p>
            <a:r>
              <a:rPr lang="en-US" dirty="0" smtClean="0"/>
              <a:t>1.Ext 2.		</a:t>
            </a:r>
          </a:p>
          <a:p>
            <a:r>
              <a:rPr lang="en-US" dirty="0" smtClean="0"/>
              <a:t>2.Ext 3.		</a:t>
            </a:r>
          </a:p>
          <a:p>
            <a:r>
              <a:rPr lang="en-US" dirty="0" smtClean="0"/>
              <a:t>3.Ext 4.		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23992" y="4941168"/>
            <a:ext cx="2736304" cy="1224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Journaling.</a:t>
            </a:r>
          </a:p>
          <a:p>
            <a:r>
              <a:rPr lang="en-US" dirty="0" smtClean="0"/>
              <a:t>1.Write back.</a:t>
            </a:r>
          </a:p>
          <a:p>
            <a:r>
              <a:rPr lang="en-US" dirty="0" smtClean="0"/>
              <a:t>2.Ordered.</a:t>
            </a:r>
          </a:p>
          <a:p>
            <a:r>
              <a:rPr lang="en-US" dirty="0" smtClean="0"/>
              <a:t>3.Data.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1484784"/>
            <a:ext cx="5719052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61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1344" y="1052736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Baskerville Old Face" panose="02020602080505020303" pitchFamily="18" charset="0"/>
                <a:cs typeface="Times New Roman" pitchFamily="18" charset="0"/>
              </a:rPr>
              <a:t>Types of  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process</a:t>
            </a:r>
          </a:p>
          <a:p>
            <a:endParaRPr lang="en-US" dirty="0" smtClean="0">
              <a:latin typeface="Baskerville Old Face" panose="02020602080505020303" pitchFamily="18" charset="0"/>
              <a:cs typeface="Times New Roman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 smtClean="0">
                <a:latin typeface="Baskerville Old Face" panose="02020602080505020303" pitchFamily="18" charset="0"/>
                <a:cs typeface="Times New Roman" pitchFamily="18" charset="0"/>
              </a:rPr>
              <a:t>Init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 proc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Parent proc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Baskerville Old Face" panose="02020602080505020303" pitchFamily="18" charset="0"/>
              </a:rPr>
              <a:t>Child process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 </a:t>
            </a:r>
            <a:r>
              <a:rPr lang="en-US" dirty="0">
                <a:latin typeface="Baskerville Old Face" panose="02020602080505020303" pitchFamily="18" charset="0"/>
              </a:rPr>
              <a:t>Daemon </a:t>
            </a:r>
            <a:r>
              <a:rPr lang="en-US" dirty="0" smtClean="0">
                <a:latin typeface="Baskerville Old Face" panose="02020602080505020303" pitchFamily="18" charset="0"/>
              </a:rPr>
              <a:t>process. </a:t>
            </a:r>
            <a:endParaRPr lang="en-US" dirty="0"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Orphan 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 </a:t>
            </a:r>
            <a:r>
              <a:rPr lang="en-US" dirty="0">
                <a:latin typeface="Baskerville Old Face" panose="02020602080505020303" pitchFamily="18" charset="0"/>
              </a:rPr>
              <a:t>Zombie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Interactive 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atch 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 </a:t>
            </a:r>
            <a:r>
              <a:rPr lang="en-US" dirty="0">
                <a:latin typeface="Baskerville Old Face" panose="02020602080505020303" pitchFamily="18" charset="0"/>
              </a:rPr>
              <a:t>Real time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  <a:cs typeface="Times New Roman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3811" y="748499"/>
            <a:ext cx="4349105" cy="292223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367808" y="3955487"/>
            <a:ext cx="56166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Process Scheduling</a:t>
            </a:r>
          </a:p>
          <a:p>
            <a:endParaRPr lang="en-US" dirty="0" smtClean="0">
              <a:latin typeface="Baskerville Old Face" panose="0202060208050502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 FCFS (First Come First Serv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SJF      (Shortest Job Firs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Round Rob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Priority Scheduling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7368" y="188640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 Management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95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376" y="620688"/>
            <a:ext cx="691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Device Management .</a:t>
            </a:r>
          </a:p>
          <a:p>
            <a:endParaRPr lang="en-US" dirty="0">
              <a:latin typeface="Baskerville Old Face" panose="02020602080505020303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9376" y="1267019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Device files (/dev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IRQ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855640" y="364230"/>
          <a:ext cx="4784080" cy="2467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35360" y="2963553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emory Management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714" y="3596915"/>
            <a:ext cx="5040560" cy="26238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7624" y="2963553"/>
            <a:ext cx="3384376" cy="2784413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6312024" y="4005063"/>
          <a:ext cx="2592288" cy="21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880157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DE51143-86F1-4CDB-88E9-6664EC088D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8DE51143-86F1-4CDB-88E9-6664EC088D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D2E88C2-FD69-4465-8EEB-821CF1B16D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4D2E88C2-FD69-4465-8EEB-821CF1B16D5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5788452-4BE9-49FD-A139-51284C6680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65788452-4BE9-49FD-A139-51284C6680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0F24591-C92F-4D28-BB99-E3D217AE926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10F24591-C92F-4D28-BB99-E3D217AE926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AEE297A-253E-409B-8C98-AF40FA47262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AAEE297A-253E-409B-8C98-AF40FA47262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B033CE0-6666-4782-B805-6F90415335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dgm id="{CB033CE0-6666-4782-B805-6F90415335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6A9F5EE1-100B-4010-8E81-F884437A4C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>
                                            <p:graphicEl>
                                              <a:dgm id="{6A9F5EE1-100B-4010-8E81-F884437A4C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34B55A89-74DA-4109-A603-93E27CD2EF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>
                                            <p:graphicEl>
                                              <a:dgm id="{34B55A89-74DA-4109-A603-93E27CD2EF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DF88E63-24BE-4528-8F35-301BBF075C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>
                                            <p:graphicEl>
                                              <a:dgm id="{ADF88E63-24BE-4528-8F35-301BBF075C4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11657F35-32BD-4DA9-A6D4-4EACECE3F9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>
                                            <p:graphicEl>
                                              <a:dgm id="{11657F35-32BD-4DA9-A6D4-4EACECE3F9A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F6307FB-E60E-40B4-B22B-D715E3BD6A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>
                                            <p:graphicEl>
                                              <a:dgm id="{7F6307FB-E60E-40B4-B22B-D715E3BD6A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  <p:bldGraphic spid="8" grpId="0">
        <p:bldSub>
          <a:bldDgm bld="one"/>
        </p:bldSub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1248816" y="1772816"/>
            <a:ext cx="6192688" cy="1008112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EMANTALS</a:t>
            </a:r>
            <a:endParaRPr lang="en-US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91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79376" y="272261"/>
            <a:ext cx="3512500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2600" b="1" dirty="0" smtClean="0">
                <a:solidFill>
                  <a:schemeClr val="tx2"/>
                </a:solidFill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</a:rPr>
              <a:t>NETWOTK DEVICES</a:t>
            </a:r>
            <a:endParaRPr lang="en-IN" sz="2600" b="1" dirty="0">
              <a:solidFill>
                <a:schemeClr val="tx2"/>
              </a:solidFill>
              <a:latin typeface="Times New Roman" panose="02020603050405020304" pitchFamily="18" charset="0"/>
              <a:ea typeface="Verdana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48" y="1340768"/>
            <a:ext cx="3450878" cy="25613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468555" y="1548081"/>
            <a:ext cx="1909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outer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050" name="Picture 2" descr="Image result for repeater network device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699" y="4136863"/>
            <a:ext cx="3106626" cy="255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nic network device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4403848"/>
            <a:ext cx="3965575" cy="1996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468555" y="3844476"/>
            <a:ext cx="2356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               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NIC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4" name="Picture 2" descr="Image result for switch networ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496" y="2396335"/>
            <a:ext cx="3552825" cy="128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Image result for hub network"/>
          <p:cNvSpPr>
            <a:spLocks noChangeAspect="1" noChangeArrowheads="1"/>
          </p:cNvSpPr>
          <p:nvPr/>
        </p:nvSpPr>
        <p:spPr bwMode="auto">
          <a:xfrm>
            <a:off x="1288914" y="2621024"/>
            <a:ext cx="1461505" cy="146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2" descr="Image result for hub netwo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86" name="Picture 14" descr="Image result for hub networ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14" y="2511077"/>
            <a:ext cx="3064143" cy="1349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Image result for bridge network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6" y="4312280"/>
            <a:ext cx="2753937" cy="204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39416" y="1836113"/>
            <a:ext cx="18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HUB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43151" y="1288151"/>
            <a:ext cx="17644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Switch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43472" y="3645024"/>
            <a:ext cx="19663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Brid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96216" y="3913232"/>
            <a:ext cx="23611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epeater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59496" y="980728"/>
            <a:ext cx="9793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se are the components which is used to connect the computer together so that the data can be shared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0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395264" y="260648"/>
            <a:ext cx="10515600" cy="965915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TYPES OF NETWORK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85" y="1859633"/>
            <a:ext cx="3286598" cy="2021524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509" y="1614322"/>
            <a:ext cx="4702839" cy="236145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32" y="1633051"/>
            <a:ext cx="2989948" cy="2176531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54" y="4386310"/>
            <a:ext cx="3098483" cy="1693545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783" y="4122593"/>
            <a:ext cx="3873969" cy="2206646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00" y="4181841"/>
            <a:ext cx="3456384" cy="2154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5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8021" y="1994725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t has-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n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Out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Storage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ntrol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ALU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98143" y="1401663"/>
            <a:ext cx="11813715" cy="643612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 What is Computer?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354" y="1606062"/>
            <a:ext cx="5317515" cy="439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 txBox="1">
            <a:spLocks/>
          </p:cNvSpPr>
          <p:nvPr/>
        </p:nvSpPr>
        <p:spPr>
          <a:xfrm>
            <a:off x="191344" y="33265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RDWAR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263352" y="5161652"/>
            <a:ext cx="11813715" cy="643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itchFamily="18" charset="0"/>
              </a:rPr>
              <a:t>  Hardware :</a:t>
            </a:r>
          </a:p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r hardware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are the physical parts or components of a computer, such as the monitor, keyboard, computer data storage, graphic card, sound card and motherboard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By contrast, software is instructions that can be stored and ran by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rdware.</a:t>
            </a:r>
          </a:p>
          <a:p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36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41330" y="344269"/>
            <a:ext cx="426187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OPOLOGIES</a:t>
            </a:r>
            <a:endParaRPr lang="en-IN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105" y="1298299"/>
            <a:ext cx="4462677" cy="4767649"/>
          </a:xfrm>
          <a:prstGeom prst="rect">
            <a:avLst/>
          </a:prstGeom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09" y="1298301"/>
            <a:ext cx="7070501" cy="493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19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008" y="1610284"/>
            <a:ext cx="9105363" cy="494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-2616968" y="415089"/>
            <a:ext cx="10515600" cy="1141703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CP/IP LAYERS AND OSI LAYER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97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752872" y="303237"/>
            <a:ext cx="10515600" cy="1325563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IP ADDRESS CLASSE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76" y="1196752"/>
            <a:ext cx="10447229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3352" y="3140968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  <a:endParaRPr lang="en-US" sz="2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869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8248" y="1052736"/>
            <a:ext cx="2808552" cy="176856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3265040" y="344269"/>
            <a:ext cx="860402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C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9416" y="1264692"/>
            <a:ext cx="98650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dynamically assign an IP address to any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ADVANTAG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CHNOLOGIES PRIOR TO DHC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 BY STEP PROCESS 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Image result for comput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543" y="4437112"/>
            <a:ext cx="2628900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server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75" t="6139" r="35441" b="5302"/>
          <a:stretch/>
        </p:blipFill>
        <p:spPr bwMode="auto">
          <a:xfrm>
            <a:off x="9048328" y="4221088"/>
            <a:ext cx="102657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Arrow 2"/>
          <p:cNvSpPr/>
          <p:nvPr/>
        </p:nvSpPr>
        <p:spPr>
          <a:xfrm>
            <a:off x="2117941" y="4407969"/>
            <a:ext cx="194421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COVER</a:t>
            </a:r>
            <a:endParaRPr lang="en-US" dirty="0"/>
          </a:p>
        </p:txBody>
      </p:sp>
      <p:sp>
        <p:nvSpPr>
          <p:cNvPr id="6" name="Left Arrow 5"/>
          <p:cNvSpPr/>
          <p:nvPr/>
        </p:nvSpPr>
        <p:spPr>
          <a:xfrm>
            <a:off x="6888088" y="4824018"/>
            <a:ext cx="1944216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FFER</a:t>
            </a:r>
            <a:endParaRPr lang="en-US" dirty="0"/>
          </a:p>
        </p:txBody>
      </p:sp>
      <p:sp>
        <p:nvSpPr>
          <p:cNvPr id="7" name="Right Arrow 6"/>
          <p:cNvSpPr/>
          <p:nvPr/>
        </p:nvSpPr>
        <p:spPr>
          <a:xfrm>
            <a:off x="2223570" y="5348090"/>
            <a:ext cx="1913745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9" name="Left Arrow 8"/>
          <p:cNvSpPr/>
          <p:nvPr/>
        </p:nvSpPr>
        <p:spPr>
          <a:xfrm>
            <a:off x="6672064" y="5832722"/>
            <a:ext cx="212859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CKNOWLED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080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3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784 7.40741E-7 L 0.40585 -0.0004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8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914 2.59259E-6 L -0.38385 0.0027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242" y="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3.7037E-6 L 0.38685 -0.0106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36" y="-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795 0.00278 L -0.30795 0.00278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6" grpId="0" animBg="1"/>
      <p:bldP spid="7" grpId="0" animBg="1"/>
      <p:bldP spid="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7648" y="2780928"/>
            <a:ext cx="6072142" cy="33896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1752872" y="200253"/>
            <a:ext cx="59046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336" y="908720"/>
            <a:ext cx="12072664" cy="14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Domain Name System (</a:t>
            </a:r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is a hierarchical decentralized naming system for computers, services, or other resources connected to the Internet or a private network.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656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784" y="2492896"/>
            <a:ext cx="4371211" cy="41029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2400944" y="416277"/>
            <a:ext cx="93610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ECTORY SERVICE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368" y="1323439"/>
            <a:ext cx="1108923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irectory services contain data an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tadata</a:t>
            </a:r>
          </a:p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X.500 formed the basis of a standard that is widely deploye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nown as LDAP                       </a:t>
            </a: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>
              <a:buSzPct val="121000"/>
            </a:pPr>
            <a:endParaRPr lang="en-US" sz="4400" b="1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2127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13186"/>
          <a:stretch/>
        </p:blipFill>
        <p:spPr>
          <a:xfrm>
            <a:off x="2075352" y="3429000"/>
            <a:ext cx="9997312" cy="265106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-1770417" y="260648"/>
            <a:ext cx="729035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L </a:t>
            </a:r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ICE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9336" y="1342805"/>
            <a:ext cx="11953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that receives incoming e-mail from local users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te senders and forwards outgoing e-mail for delivery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9336" y="2531805"/>
            <a:ext cx="42484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MT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3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AP4</a:t>
            </a:r>
          </a:p>
        </p:txBody>
      </p:sp>
    </p:spTree>
    <p:extLst>
      <p:ext uri="{BB962C8B-B14F-4D97-AF65-F5344CB8AC3E}">
        <p14:creationId xmlns:p14="http://schemas.microsoft.com/office/powerpoint/2010/main" val="318270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-1824880" y="272261"/>
            <a:ext cx="79208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SERVICE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423" y="2813040"/>
            <a:ext cx="5054970" cy="30824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214933"/>
            <a:ext cx="120006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s as an intermediary between the user's computer and the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caching is a feature of proxy servers that stores content on the proxy server itself, allowing web services to share those resources to more user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3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248816" y="344269"/>
            <a:ext cx="655272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B SERVICE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2924944"/>
            <a:ext cx="6480720" cy="2736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63352" y="797297"/>
            <a:ext cx="12072664" cy="15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’s a service offered by an electronic device to another electronic device, communicating with each other via the World Wide Web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78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645608"/>
            <a:ext cx="11793979" cy="4133869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Types of 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mbrane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ultimedi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89299" y="1155478"/>
            <a:ext cx="11813715" cy="47403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338" y="502764"/>
            <a:ext cx="3153507" cy="271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7865" y="662118"/>
            <a:ext cx="3144135" cy="3008198"/>
          </a:xfrm>
          <a:prstGeom prst="rect">
            <a:avLst/>
          </a:prstGeom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517" y="548681"/>
            <a:ext cx="2539512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79376" y="429309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use</a:t>
            </a:r>
            <a:endParaRPr lang="en-US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8021" y="5013176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mouse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Opt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Wireless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665" y="3819773"/>
            <a:ext cx="3024095" cy="279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6360" y="3755811"/>
            <a:ext cx="2552331" cy="293234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706" y="3755810"/>
            <a:ext cx="2840204" cy="3013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PUT DEVICE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992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1608856" y="2636912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19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320824" y="200253"/>
            <a:ext cx="64807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3352" y="980728"/>
            <a:ext cx="11521280" cy="11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 application program is a computer program designed to perform a group of coordinated functions, tasks, or activities for the benefit of the user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794851921"/>
              </p:ext>
            </p:extLst>
          </p:nvPr>
        </p:nvGraphicFramePr>
        <p:xfrm>
          <a:off x="4172852" y="2276872"/>
          <a:ext cx="5292447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27448" y="2996952"/>
            <a:ext cx="38884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NENT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3432" y="5373216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: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32692" y="5120897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IL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INTERPRETER</a:t>
            </a:r>
            <a:endParaRPr 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373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75520" y="152727"/>
            <a:ext cx="8352928" cy="86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-888776" y="272261"/>
            <a:ext cx="741682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- LIFE CYCLE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16823"/>
            <a:ext cx="5490997" cy="52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824880" y="200253"/>
            <a:ext cx="59046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9936" y="2132465"/>
            <a:ext cx="4176464" cy="40349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1344" y="817927"/>
            <a:ext cx="118813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An application program interface (API) is code that allows two software programs to communicate with each other.</a:t>
            </a:r>
          </a:p>
          <a:p>
            <a:pPr>
              <a:lnSpc>
                <a:spcPct val="100000"/>
              </a:lnSpc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1344" y="2564904"/>
            <a:ext cx="59046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 OF ATTACKS</a:t>
            </a:r>
            <a:r>
              <a:rPr lang="en-US" sz="2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L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jec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oss-site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ipting 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nial-of-servic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ssion hijacking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35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4989" y="610252"/>
            <a:ext cx="2664296" cy="26326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6967" b="29824"/>
          <a:stretch/>
        </p:blipFill>
        <p:spPr>
          <a:xfrm>
            <a:off x="839416" y="188640"/>
            <a:ext cx="4703769" cy="3086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032" y="3786001"/>
            <a:ext cx="4140520" cy="26316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6040" y="3821584"/>
            <a:ext cx="5142194" cy="259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7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412776"/>
            <a:ext cx="5956218" cy="48245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-1032792" y="344269"/>
            <a:ext cx="741682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ERPRISE APPLICATION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935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816768" y="2924944"/>
            <a:ext cx="6624736" cy="1079500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+mj-lt"/>
              </a:rPr>
              <a:t>DATABASE FUNDAMENTALS</a:t>
            </a:r>
            <a:endParaRPr lang="en-US" sz="28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23175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260648"/>
            <a:ext cx="1065718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BMS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t is responsible for creating,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editing, deleting and generally maintaining a database or collection of data records. 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A database model is the manner in which the data collection is stored, managed and administered. 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024333399"/>
              </p:ext>
            </p:extLst>
          </p:nvPr>
        </p:nvGraphicFramePr>
        <p:xfrm>
          <a:off x="2639616" y="3374752"/>
          <a:ext cx="604867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266133408"/>
              </p:ext>
            </p:extLst>
          </p:nvPr>
        </p:nvGraphicFramePr>
        <p:xfrm>
          <a:off x="2627986" y="3906314"/>
          <a:ext cx="5628254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4006341253"/>
              </p:ext>
            </p:extLst>
          </p:nvPr>
        </p:nvGraphicFramePr>
        <p:xfrm>
          <a:off x="2649352" y="4418501"/>
          <a:ext cx="51748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766336622"/>
              </p:ext>
            </p:extLst>
          </p:nvPr>
        </p:nvGraphicFramePr>
        <p:xfrm>
          <a:off x="2649352" y="4940300"/>
          <a:ext cx="603893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3930107398"/>
              </p:ext>
            </p:extLst>
          </p:nvPr>
        </p:nvGraphicFramePr>
        <p:xfrm>
          <a:off x="2649352" y="5473040"/>
          <a:ext cx="546287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54899" y="2517539"/>
            <a:ext cx="53285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tx2"/>
                </a:solidFill>
              </a:rPr>
              <a:t>Different data models</a:t>
            </a:r>
            <a:r>
              <a:rPr lang="en-US" sz="2600" b="1" dirty="0" smtClean="0">
                <a:solidFill>
                  <a:schemeClr val="tx2"/>
                </a:solidFill>
              </a:rPr>
              <a:t>:</a:t>
            </a:r>
            <a:endParaRPr lang="en-US" sz="2600" b="1" dirty="0">
              <a:solidFill>
                <a:schemeClr val="tx2"/>
              </a:solidFill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559496" y="5657706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20" idx="1"/>
          </p:cNvCxnSpPr>
          <p:nvPr/>
        </p:nvCxnSpPr>
        <p:spPr>
          <a:xfrm>
            <a:off x="1559496" y="5124966"/>
            <a:ext cx="108985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1559496" y="4603167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15" idx="1"/>
          </p:cNvCxnSpPr>
          <p:nvPr/>
        </p:nvCxnSpPr>
        <p:spPr>
          <a:xfrm>
            <a:off x="1559496" y="4090980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endCxn id="13" idx="1"/>
          </p:cNvCxnSpPr>
          <p:nvPr/>
        </p:nvCxnSpPr>
        <p:spPr>
          <a:xfrm>
            <a:off x="1559496" y="3559418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559496" y="3029726"/>
            <a:ext cx="0" cy="52969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559496" y="3559418"/>
            <a:ext cx="0" cy="53156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559496" y="4090980"/>
            <a:ext cx="0" cy="512187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559496" y="4603167"/>
            <a:ext cx="0" cy="521799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559496" y="5124966"/>
            <a:ext cx="0" cy="532740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8731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5" grpId="0">
        <p:bldAsOne/>
      </p:bldGraphic>
      <p:bldGraphic spid="18" grpId="0">
        <p:bldAsOne/>
      </p:bldGraphic>
      <p:bldGraphic spid="20" grpId="0">
        <p:bldAsOne/>
      </p:bldGraphic>
      <p:bldGraphic spid="22" grpId="0">
        <p:bldAsOne/>
      </p:bldGraphic>
      <p:bldP spid="2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07368" y="401645"/>
            <a:ext cx="554461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based approach Disadvantages</a:t>
            </a:r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654495511"/>
              </p:ext>
            </p:extLst>
          </p:nvPr>
        </p:nvGraphicFramePr>
        <p:xfrm>
          <a:off x="1487488" y="1005610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22905596"/>
              </p:ext>
            </p:extLst>
          </p:nvPr>
        </p:nvGraphicFramePr>
        <p:xfrm>
          <a:off x="1487488" y="151680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348929727"/>
              </p:ext>
            </p:extLst>
          </p:nvPr>
        </p:nvGraphicFramePr>
        <p:xfrm>
          <a:off x="1487488" y="2028004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285364216"/>
              </p:ext>
            </p:extLst>
          </p:nvPr>
        </p:nvGraphicFramePr>
        <p:xfrm>
          <a:off x="1487488" y="256458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3437079291"/>
              </p:ext>
            </p:extLst>
          </p:nvPr>
        </p:nvGraphicFramePr>
        <p:xfrm>
          <a:off x="1487488" y="3073111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672064" y="421371"/>
            <a:ext cx="44644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BMS advantages</a:t>
            </a:r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26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2079357857"/>
              </p:ext>
            </p:extLst>
          </p:nvPr>
        </p:nvGraphicFramePr>
        <p:xfrm>
          <a:off x="7555768" y="967858"/>
          <a:ext cx="437288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3310162060"/>
              </p:ext>
            </p:extLst>
          </p:nvPr>
        </p:nvGraphicFramePr>
        <p:xfrm>
          <a:off x="7555768" y="1479055"/>
          <a:ext cx="437288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807257430"/>
              </p:ext>
            </p:extLst>
          </p:nvPr>
        </p:nvGraphicFramePr>
        <p:xfrm>
          <a:off x="7536160" y="2028004"/>
          <a:ext cx="446449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1064454223"/>
              </p:ext>
            </p:extLst>
          </p:nvPr>
        </p:nvGraphicFramePr>
        <p:xfrm>
          <a:off x="7536159" y="2539201"/>
          <a:ext cx="4464497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324533555"/>
              </p:ext>
            </p:extLst>
          </p:nvPr>
        </p:nvGraphicFramePr>
        <p:xfrm>
          <a:off x="7555768" y="3050398"/>
          <a:ext cx="444488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30" name="Diagram 29"/>
          <p:cNvGraphicFramePr/>
          <p:nvPr>
            <p:extLst>
              <p:ext uri="{D42A27DB-BD31-4B8C-83A1-F6EECF244321}">
                <p14:modId xmlns:p14="http://schemas.microsoft.com/office/powerpoint/2010/main" val="1821065297"/>
              </p:ext>
            </p:extLst>
          </p:nvPr>
        </p:nvGraphicFramePr>
        <p:xfrm>
          <a:off x="7555768" y="3599347"/>
          <a:ext cx="444488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97158" y="3616186"/>
            <a:ext cx="525658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ID PROPERTIES</a:t>
            </a:r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994" y="4189373"/>
            <a:ext cx="4074398" cy="215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ight Arrow 35"/>
          <p:cNvSpPr/>
          <p:nvPr/>
        </p:nvSpPr>
        <p:spPr>
          <a:xfrm>
            <a:off x="767408" y="3193774"/>
            <a:ext cx="708586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767408" y="2703443"/>
            <a:ext cx="708586" cy="915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767408" y="2173357"/>
            <a:ext cx="708586" cy="8503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67408" y="1616765"/>
            <a:ext cx="708586" cy="926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Arrow 39"/>
          <p:cNvSpPr/>
          <p:nvPr/>
        </p:nvSpPr>
        <p:spPr>
          <a:xfrm>
            <a:off x="767408" y="1113184"/>
            <a:ext cx="708586" cy="85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/>
          <p:cNvCxnSpPr>
            <a:endCxn id="40" idx="1"/>
          </p:cNvCxnSpPr>
          <p:nvPr/>
        </p:nvCxnSpPr>
        <p:spPr>
          <a:xfrm>
            <a:off x="767408" y="801755"/>
            <a:ext cx="0" cy="35395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40" idx="1"/>
            <a:endCxn id="39" idx="1"/>
          </p:cNvCxnSpPr>
          <p:nvPr/>
        </p:nvCxnSpPr>
        <p:spPr>
          <a:xfrm>
            <a:off x="767408" y="1155714"/>
            <a:ext cx="0" cy="50738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9" idx="1"/>
            <a:endCxn id="38" idx="1"/>
          </p:cNvCxnSpPr>
          <p:nvPr/>
        </p:nvCxnSpPr>
        <p:spPr>
          <a:xfrm>
            <a:off x="767408" y="1663103"/>
            <a:ext cx="0" cy="5527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1"/>
            <a:endCxn id="37" idx="1"/>
          </p:cNvCxnSpPr>
          <p:nvPr/>
        </p:nvCxnSpPr>
        <p:spPr>
          <a:xfrm>
            <a:off x="767408" y="2215874"/>
            <a:ext cx="0" cy="53333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7" idx="1"/>
            <a:endCxn id="36" idx="1"/>
          </p:cNvCxnSpPr>
          <p:nvPr/>
        </p:nvCxnSpPr>
        <p:spPr>
          <a:xfrm>
            <a:off x="767408" y="2749208"/>
            <a:ext cx="0" cy="4880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4" name="Right Arrow 53"/>
          <p:cNvSpPr/>
          <p:nvPr/>
        </p:nvSpPr>
        <p:spPr>
          <a:xfrm>
            <a:off x="6960096" y="3737113"/>
            <a:ext cx="576064" cy="1239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Arrow 74"/>
          <p:cNvSpPr/>
          <p:nvPr/>
        </p:nvSpPr>
        <p:spPr>
          <a:xfrm>
            <a:off x="6960096" y="3193774"/>
            <a:ext cx="576064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ight Arrow 75"/>
          <p:cNvSpPr/>
          <p:nvPr/>
        </p:nvSpPr>
        <p:spPr>
          <a:xfrm>
            <a:off x="6960096" y="2703444"/>
            <a:ext cx="576064" cy="914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ight Arrow 76"/>
          <p:cNvSpPr/>
          <p:nvPr/>
        </p:nvSpPr>
        <p:spPr>
          <a:xfrm>
            <a:off x="6960096" y="2186609"/>
            <a:ext cx="576064" cy="717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ight Arrow 77"/>
          <p:cNvSpPr/>
          <p:nvPr/>
        </p:nvSpPr>
        <p:spPr>
          <a:xfrm>
            <a:off x="6960096" y="1616765"/>
            <a:ext cx="576064" cy="920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ight Arrow 78"/>
          <p:cNvSpPr/>
          <p:nvPr/>
        </p:nvSpPr>
        <p:spPr>
          <a:xfrm>
            <a:off x="6960096" y="1113184"/>
            <a:ext cx="576064" cy="8824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1" name="Straight Connector 80"/>
          <p:cNvCxnSpPr>
            <a:endCxn id="79" idx="1"/>
          </p:cNvCxnSpPr>
          <p:nvPr/>
        </p:nvCxnSpPr>
        <p:spPr>
          <a:xfrm>
            <a:off x="6960096" y="801755"/>
            <a:ext cx="0" cy="35555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79" idx="1"/>
            <a:endCxn id="78" idx="1"/>
          </p:cNvCxnSpPr>
          <p:nvPr/>
        </p:nvCxnSpPr>
        <p:spPr>
          <a:xfrm>
            <a:off x="6960096" y="1157309"/>
            <a:ext cx="0" cy="505485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78" idx="1"/>
            <a:endCxn id="77" idx="1"/>
          </p:cNvCxnSpPr>
          <p:nvPr/>
        </p:nvCxnSpPr>
        <p:spPr>
          <a:xfrm>
            <a:off x="6960096" y="1662794"/>
            <a:ext cx="0" cy="55970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77" idx="1"/>
            <a:endCxn id="76" idx="1"/>
          </p:cNvCxnSpPr>
          <p:nvPr/>
        </p:nvCxnSpPr>
        <p:spPr>
          <a:xfrm>
            <a:off x="6960096" y="2222500"/>
            <a:ext cx="0" cy="52668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76" idx="1"/>
            <a:endCxn id="75" idx="1"/>
          </p:cNvCxnSpPr>
          <p:nvPr/>
        </p:nvCxnSpPr>
        <p:spPr>
          <a:xfrm>
            <a:off x="6960096" y="2749186"/>
            <a:ext cx="0" cy="488093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5" idx="1"/>
          </p:cNvCxnSpPr>
          <p:nvPr/>
        </p:nvCxnSpPr>
        <p:spPr>
          <a:xfrm>
            <a:off x="6960096" y="3237279"/>
            <a:ext cx="0" cy="62376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62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00"/>
                            </p:stCondLst>
                            <p:childTnLst>
                              <p:par>
                                <p:cTn id="9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5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00"/>
                            </p:stCondLst>
                            <p:childTnLst>
                              <p:par>
                                <p:cTn id="1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00"/>
                            </p:stCondLst>
                            <p:childTnLst>
                              <p:par>
                                <p:cTn id="13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500"/>
                            </p:stCondLst>
                            <p:childTnLst>
                              <p:par>
                                <p:cTn id="14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1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2500"/>
                            </p:stCondLst>
                            <p:childTnLst>
                              <p:par>
                                <p:cTn id="1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500"/>
                            </p:stCondLst>
                            <p:childTnLst>
                              <p:par>
                                <p:cTn id="16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7" grpId="0">
        <p:bldAsOne/>
      </p:bldGraphic>
      <p:bldGraphic spid="11" grpId="0">
        <p:bldAsOne/>
      </p:bldGraphic>
      <p:bldGraphic spid="13" grpId="0">
        <p:bldAsOne/>
      </p:bldGraphic>
      <p:bldGraphic spid="15" grpId="0">
        <p:bldAsOne/>
      </p:bldGraphic>
      <p:bldGraphic spid="17" grpId="0">
        <p:bldAsOne/>
      </p:bldGraphic>
      <p:bldP spid="18" grpId="0"/>
      <p:bldGraphic spid="20" grpId="0">
        <p:bldAsOne/>
      </p:bldGraphic>
      <p:bldGraphic spid="22" grpId="0">
        <p:bldAsOne/>
      </p:bldGraphic>
      <p:bldGraphic spid="24" grpId="0">
        <p:bldAsOne/>
      </p:bldGraphic>
      <p:bldGraphic spid="26" grpId="0">
        <p:bldAsOne/>
      </p:bldGraphic>
      <p:bldGraphic spid="28" grpId="0">
        <p:bldAsOne/>
      </p:bldGraphic>
      <p:bldGraphic spid="30" grpId="0">
        <p:bldAsOne/>
      </p:bldGraphic>
      <p:bldP spid="31" grpId="0"/>
      <p:bldP spid="36" grpId="0" animBg="1"/>
      <p:bldP spid="37" grpId="0" animBg="1"/>
      <p:bldP spid="38" grpId="0" animBg="1"/>
      <p:bldP spid="39" grpId="0" animBg="1"/>
      <p:bldP spid="40" grpId="0" animBg="1"/>
      <p:bldP spid="5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5010" y="1794994"/>
            <a:ext cx="11793979" cy="4026560"/>
          </a:xfrm>
        </p:spPr>
        <p:txBody>
          <a:bodyPr/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DM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ull constrai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t null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strai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iqu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strai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ault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strai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mary key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strai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eign key constraint</a:t>
            </a:r>
            <a:endParaRPr lang="en-US" sz="2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94994"/>
            <a:ext cx="4536504" cy="283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206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684238"/>
            <a:ext cx="10972800" cy="944562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Working</a:t>
            </a:r>
            <a:r>
              <a:rPr lang="en-US" sz="2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principle</a:t>
            </a:r>
            <a:r>
              <a:rPr lang="en-US" sz="2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en-US" sz="2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scanner</a:t>
            </a:r>
            <a:endParaRPr lang="en-US" sz="28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556792"/>
            <a:ext cx="5904656" cy="3529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71664" y="4725144"/>
            <a:ext cx="4248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nalog to Digital converter)</a:t>
            </a:r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3071664" y="4522322"/>
            <a:ext cx="310857" cy="2748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783632" y="3059668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Charge Coupled Device)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2711624" y="3385073"/>
            <a:ext cx="279032" cy="54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407988" y="117127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SCANNER</a:t>
            </a:r>
            <a:endParaRPr lang="en-US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7176120" y="980728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Flatbed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Drum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Handheld scanne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568" y="2401024"/>
            <a:ext cx="2160240" cy="2324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368" y="2801526"/>
            <a:ext cx="2187824" cy="226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7476" y="4624262"/>
            <a:ext cx="1750892" cy="2189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4810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376" y="332656"/>
            <a:ext cx="4572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ALIZATION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08547" y="1556792"/>
          <a:ext cx="4136980" cy="1920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8990"/>
                <a:gridCol w="1310858"/>
                <a:gridCol w="790658"/>
                <a:gridCol w="8964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, 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, 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89899" y="1556792"/>
          <a:ext cx="503564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10"/>
                <a:gridCol w="1258910"/>
                <a:gridCol w="1258910"/>
                <a:gridCol w="1258910"/>
              </a:tblGrid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08074" y="821776"/>
            <a:ext cx="108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1 NF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008074" y="3728453"/>
            <a:ext cx="123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 2 N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4391222"/>
            <a:ext cx="2615411" cy="19813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899" y="4391222"/>
            <a:ext cx="4267570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72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60202" y="1352361"/>
            <a:ext cx="12031797" cy="4952185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07368" y="948276"/>
          <a:ext cx="4143080" cy="27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101"/>
                <a:gridCol w="2042979"/>
              </a:tblGrid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07368" y="3893511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44661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07368" y="5348339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388"/>
                <a:gridCol w="14433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8653" y="303039"/>
            <a:ext cx="116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NF</a:t>
            </a:r>
            <a:endParaRPr lang="en-US" sz="24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04112" y="486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CNF</a:t>
            </a:r>
            <a:endParaRPr lang="en-US" sz="24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524" y="1495333"/>
            <a:ext cx="525520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32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62" y="514661"/>
            <a:ext cx="11016604" cy="863601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D QUERY LANGUAGE</a:t>
            </a:r>
            <a:b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L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s a standard computer language for relational database management and data manipulation.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071664" y="1844688"/>
            <a:ext cx="4775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SQL language statement</a:t>
            </a:r>
          </a:p>
        </p:txBody>
      </p:sp>
      <p:cxnSp>
        <p:nvCxnSpPr>
          <p:cNvPr id="6" name="Straight Arrow Connector 5"/>
          <p:cNvCxnSpPr>
            <a:stCxn id="5" idx="2"/>
          </p:cNvCxnSpPr>
          <p:nvPr/>
        </p:nvCxnSpPr>
        <p:spPr>
          <a:xfrm>
            <a:off x="5459264" y="2682888"/>
            <a:ext cx="0" cy="381000"/>
          </a:xfrm>
          <a:prstGeom prst="straightConnector1">
            <a:avLst/>
          </a:prstGeom>
          <a:ln>
            <a:solidFill>
              <a:srgbClr val="0E0D0C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55664" y="3063888"/>
            <a:ext cx="6705600" cy="0"/>
          </a:xfrm>
          <a:prstGeom prst="line">
            <a:avLst/>
          </a:prstGeom>
          <a:ln w="12700"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2936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DL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669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M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8148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C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999264" y="3625862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TCL</a:t>
            </a:r>
          </a:p>
        </p:txBody>
      </p:sp>
      <p:cxnSp>
        <p:nvCxnSpPr>
          <p:cNvPr id="13" name="Straight Connector 12"/>
          <p:cNvCxnSpPr>
            <a:endCxn id="9" idx="0"/>
          </p:cNvCxnSpPr>
          <p:nvPr/>
        </p:nvCxnSpPr>
        <p:spPr>
          <a:xfrm>
            <a:off x="20556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3162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5768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773964" y="3063887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1249214" y="4492638"/>
            <a:ext cx="1612900" cy="1619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re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lter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runcate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rop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66965" y="4502164"/>
            <a:ext cx="1612900" cy="1609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sert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Upd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ele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elect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9992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mmi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ollback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148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Gran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evoke </a:t>
            </a:r>
          </a:p>
        </p:txBody>
      </p:sp>
      <p:cxnSp>
        <p:nvCxnSpPr>
          <p:cNvPr id="21" name="Straight Connector 20"/>
          <p:cNvCxnSpPr>
            <a:stCxn id="9" idx="2"/>
            <a:endCxn id="17" idx="0"/>
          </p:cNvCxnSpPr>
          <p:nvPr/>
        </p:nvCxnSpPr>
        <p:spPr>
          <a:xfrm>
            <a:off x="2055664" y="415926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316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576864" y="417831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61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974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RAL RDBMS ARCHITECHTURE</a:t>
            </a: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7988" y="1268414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lication layer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gical layer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ysical layer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366" name="Picture 6" descr="Image result for architecture of rdms application layer,logical layer,physical la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960" y="1268414"/>
            <a:ext cx="5467350" cy="422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2062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775520" y="350100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STORAGE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31781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176" y="1442254"/>
            <a:ext cx="10399257" cy="41986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Storage means the devices and data connected to the computer through I/O operations.</a:t>
            </a:r>
          </a:p>
          <a:p>
            <a:pPr marL="0" indent="0">
              <a:buNone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onents of Storage System Environment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sts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nectivity</a:t>
            </a:r>
          </a:p>
          <a:p>
            <a:pPr marL="0" indent="0">
              <a:buNone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Bus, Port, Cable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rays</a:t>
            </a:r>
          </a:p>
          <a:p>
            <a:pPr marL="0" indent="0">
              <a:buNone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Magnetic media, Optical media, Solid State media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3487" y="2817853"/>
            <a:ext cx="5278232" cy="169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44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231" y="908720"/>
            <a:ext cx="11016604" cy="863601"/>
          </a:xfrm>
        </p:spPr>
        <p:txBody>
          <a:bodyPr>
            <a:normAutofit/>
          </a:bodyPr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588" y="1929075"/>
            <a:ext cx="7518070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ched Storage (D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twork Attached Storage (N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ea Networks (SAN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dundant Array of Independent Disk (RAID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4493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096" y="618522"/>
            <a:ext cx="4536504" cy="530823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9376" y="188640"/>
            <a:ext cx="6048672" cy="69249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S</a:t>
            </a:r>
            <a:r>
              <a:rPr lang="en-US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ect-attached storage (DAS) is digital storage directly attached to the computer accessing it, as opposed to storage accessed over a computer network.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S</a:t>
            </a:r>
            <a:endParaRPr lang="en-US" sz="2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Network Attached Storage (NAS) device is a storage device connected to a network that allows storage and retrieval of data from a centralized location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N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SAN serves to interconnect storage related resources that are connected to multiple servers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It uses Fiber Channel Technology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It also uses iSCSI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241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D 0 and RAID 1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386" name="Picture 2" descr="Image result for raid 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038" y="1632856"/>
            <a:ext cx="3095625" cy="40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706" y="1489165"/>
            <a:ext cx="6477000" cy="46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613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D 5 and RAID 6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AutoShape 2" descr="Image result for raid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4" descr="Image result for raid 5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29" y="1819273"/>
            <a:ext cx="4490357" cy="364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9" name="Picture 7" descr="Image result for raid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726" y="1819272"/>
            <a:ext cx="5454740" cy="364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21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875692"/>
            <a:ext cx="11793979" cy="4262824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CRT Monitor</a:t>
            </a:r>
          </a:p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CD</a:t>
            </a:r>
          </a:p>
          <a:p>
            <a:r>
              <a:rPr lang="en-US" sz="2400" dirty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ED</a:t>
            </a:r>
            <a:endParaRPr lang="en-US" sz="2400" dirty="0" smtClean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4840" y="1366492"/>
            <a:ext cx="11813715" cy="50920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nito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68" y="383591"/>
            <a:ext cx="5087969" cy="298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0" y="3605753"/>
            <a:ext cx="5718431" cy="304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UTPUT DEVICE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24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D 01 and RAID 10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AutoShape 2" descr="Image result for raid 0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4" y="2016443"/>
            <a:ext cx="4624251" cy="319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1" name="Picture 5" descr="Image result for raid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970" y="2016442"/>
            <a:ext cx="5938067" cy="319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3938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 rot="20926110">
            <a:off x="3647728" y="2731567"/>
            <a:ext cx="38884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US" sz="5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8" y="2701412"/>
            <a:ext cx="4631499" cy="347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4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PRINTERS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05" y="1490633"/>
            <a:ext cx="9946451" cy="402656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ypes of printers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1.Laser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2.Ink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3.Dot-Matrix</a:t>
            </a: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mponents of laser je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onner hopp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Laser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Drum assembly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Fus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Paper tray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950" y="1373125"/>
            <a:ext cx="4582258" cy="414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NANDIN\Downloads\laser-printer3-500x5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809" y="515934"/>
            <a:ext cx="2838510" cy="219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NANDIN\Downloads\electronic-ultrasonic-pest-repeller-250x2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259" y="2486437"/>
            <a:ext cx="2628183" cy="2076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NANDIN\Downloads\cartridge-part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747" y="4563004"/>
            <a:ext cx="2669861" cy="2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91964" y="292494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Laser Jet Printer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67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081" y="404664"/>
            <a:ext cx="6169967" cy="796136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OT MATRIX PRINTER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 descr="C:\Users\NANDIN\Downloads\71SKjyePBzL._SL1500_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5" y="1340768"/>
            <a:ext cx="4032448" cy="237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NANDIN\Downloads\maxresdef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635" y="1412776"/>
            <a:ext cx="4003781" cy="229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42057" y="4365104"/>
            <a:ext cx="6169967" cy="7961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K JET PRINTER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6" descr="C:\Users\NANDIN\Downloads\u_1014374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557" y="4052328"/>
            <a:ext cx="2664403" cy="268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NANDIN\Downloads\recycle-inkjet-cartridges-300x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385" y="3848725"/>
            <a:ext cx="2743573" cy="2743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NANDIN\Downloads\HTB10Ts0QpXXXXbuXXXXq6xXFXXX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006" y="4246074"/>
            <a:ext cx="2608971" cy="251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87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P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1241" y="479247"/>
            <a:ext cx="2811073" cy="2811073"/>
          </a:xfrm>
          <a:prstGeom prst="rect">
            <a:avLst/>
          </a:prstGeom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79376" y="328498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ne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2901" y="2420888"/>
            <a:ext cx="4267200" cy="3200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800" y="3645024"/>
            <a:ext cx="2935213" cy="29352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5" y="3933056"/>
            <a:ext cx="3247102" cy="2521916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7968828" y="184531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rts To Be Connecte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0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3896</TotalTime>
  <Words>1038</Words>
  <Application>Microsoft Office PowerPoint</Application>
  <PresentationFormat>Widescreen</PresentationFormat>
  <Paragraphs>415</Paragraphs>
  <Slides>6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3" baseType="lpstr">
      <vt:lpstr>Arial</vt:lpstr>
      <vt:lpstr>Baskerville Old Face</vt:lpstr>
      <vt:lpstr>Calibri</vt:lpstr>
      <vt:lpstr>Century Gothic</vt:lpstr>
      <vt:lpstr>Times New Roman</vt:lpstr>
      <vt:lpstr>Verdana</vt:lpstr>
      <vt:lpstr>Wingdings</vt:lpstr>
      <vt:lpstr>Capgemini_Template</vt:lpstr>
      <vt:lpstr>Section slides</vt:lpstr>
      <vt:lpstr>Content Layouts</vt:lpstr>
      <vt:lpstr>Content and Image Layouts</vt:lpstr>
      <vt:lpstr>think-cell Slide</vt:lpstr>
      <vt:lpstr>PowerPoint Presentation</vt:lpstr>
      <vt:lpstr>AGENDA</vt:lpstr>
      <vt:lpstr>PowerPoint Presentation</vt:lpstr>
      <vt:lpstr>INPUT DEVICES</vt:lpstr>
      <vt:lpstr>Working principle of scanner</vt:lpstr>
      <vt:lpstr>OUTPUT DEVICES</vt:lpstr>
      <vt:lpstr>PRINTERS</vt:lpstr>
      <vt:lpstr>DOT MATRIX PRINTER</vt:lpstr>
      <vt:lpstr> SMPS</vt:lpstr>
      <vt:lpstr>Motherboard</vt:lpstr>
      <vt:lpstr>HARD DISK</vt:lpstr>
      <vt:lpstr>PowerPoint Presentation</vt:lpstr>
      <vt:lpstr>                                               OPERATING SYSTEM </vt:lpstr>
      <vt:lpstr>PowerPoint Presentation</vt:lpstr>
      <vt:lpstr>PowerPoint Presentation</vt:lpstr>
      <vt:lpstr>PowerPoint Presentation</vt:lpstr>
      <vt:lpstr>                                        PROCESS MANAGEMENT    </vt:lpstr>
      <vt:lpstr>PowerPoint Presentation</vt:lpstr>
      <vt:lpstr>PowerPoint Presentation</vt:lpstr>
      <vt:lpstr>Introduction:</vt:lpstr>
      <vt:lpstr>Linux Subsystem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TYPES OF NETWORKS</vt:lpstr>
      <vt:lpstr>PowerPoint Presentation</vt:lpstr>
      <vt:lpstr>           TCP/IP LAYERS AND OSI LAYERS</vt:lpstr>
      <vt:lpstr>                           IP ADDRESS CLAS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UCTURED QUERY LANGUAGE   SQL is a standard computer language for relational database management and data manipulation. </vt:lpstr>
      <vt:lpstr>GENERAL RDBMS ARCHITECHTURE</vt:lpstr>
      <vt:lpstr>PowerPoint Presentation</vt:lpstr>
      <vt:lpstr>STORAGE</vt:lpstr>
      <vt:lpstr>Types of Storage</vt:lpstr>
      <vt:lpstr>PowerPoint Presentation</vt:lpstr>
      <vt:lpstr>RAID 0 and RAID 1</vt:lpstr>
      <vt:lpstr>RAID 5 and RAID 6</vt:lpstr>
      <vt:lpstr>RAID 01 and RAID 10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 title</dc:title>
  <dc:creator>Tomasz Cwiklinski</dc:creator>
  <cp:lastModifiedBy>Kagithapu Lokanadha, Sai Krishna</cp:lastModifiedBy>
  <cp:revision>331</cp:revision>
  <dcterms:created xsi:type="dcterms:W3CDTF">2017-10-18T07:07:16Z</dcterms:created>
  <dcterms:modified xsi:type="dcterms:W3CDTF">2018-04-09T13:17:33Z</dcterms:modified>
</cp:coreProperties>
</file>